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747" r:id="rId2"/>
    <p:sldId id="768" r:id="rId3"/>
    <p:sldId id="750" r:id="rId4"/>
    <p:sldId id="756" r:id="rId5"/>
    <p:sldId id="769" r:id="rId6"/>
    <p:sldId id="757" r:id="rId7"/>
    <p:sldId id="762" r:id="rId8"/>
    <p:sldId id="773" r:id="rId9"/>
    <p:sldId id="755" r:id="rId10"/>
    <p:sldId id="775" r:id="rId11"/>
    <p:sldId id="774" r:id="rId12"/>
    <p:sldId id="770" r:id="rId13"/>
    <p:sldId id="765" r:id="rId14"/>
  </p:sldIdLst>
  <p:sldSz cx="8961438" cy="6721475"/>
  <p:notesSz cx="6858000" cy="9296400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9">
          <p15:clr>
            <a:srgbClr val="A4A3A4"/>
          </p15:clr>
        </p15:guide>
        <p15:guide id="2" pos="5509">
          <p15:clr>
            <a:srgbClr val="A4A3A4"/>
          </p15:clr>
        </p15:guide>
        <p15:guide id="3" pos="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9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vid Nuzum" initials="DN" lastIdx="10" clrIdx="0"/>
  <p:cmAuthor id="1" name="Pawluk, Stefanie (HEALTH)" initials="PS(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D2533C"/>
    <a:srgbClr val="00CC00"/>
    <a:srgbClr val="D0D1D4"/>
    <a:srgbClr val="FF9933"/>
    <a:srgbClr val="DF8677"/>
    <a:srgbClr val="4AB800"/>
    <a:srgbClr val="FFFFCC"/>
    <a:srgbClr val="2090EC"/>
    <a:srgbClr val="66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22" autoAdjust="0"/>
    <p:restoredTop sz="89260" autoAdjust="0"/>
  </p:normalViewPr>
  <p:slideViewPr>
    <p:cSldViewPr snapToGrid="0">
      <p:cViewPr varScale="1">
        <p:scale>
          <a:sx n="64" d="100"/>
          <a:sy n="64" d="100"/>
        </p:scale>
        <p:origin x="1620" y="48"/>
      </p:cViewPr>
      <p:guideLst>
        <p:guide orient="horz" pos="339"/>
        <p:guide pos="5509"/>
        <p:guide pos="78"/>
      </p:guideLst>
    </p:cSldViewPr>
  </p:slideViewPr>
  <p:outlineViewPr>
    <p:cViewPr>
      <p:scale>
        <a:sx n="33" d="100"/>
        <a:sy n="33" d="100"/>
      </p:scale>
      <p:origin x="0" y="-1039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3408" y="-114"/>
      </p:cViewPr>
      <p:guideLst>
        <p:guide orient="horz" pos="2929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C8BA054-4BC9-4083-9333-46167187B487}" type="doc">
      <dgm:prSet loTypeId="urn:microsoft.com/office/officeart/2005/8/layout/target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FB287B4-3E34-4C49-BFFC-9EBAADD0E87E}">
      <dgm:prSet phldrT="[Text]" custT="1"/>
      <dgm:spPr>
        <a:solidFill>
          <a:schemeClr val="tx2">
            <a:lumMod val="75000"/>
          </a:schemeClr>
        </a:solidFill>
        <a:ln>
          <a:solidFill>
            <a:schemeClr val="tx2"/>
          </a:solidFill>
        </a:ln>
      </dgm:spPr>
      <dgm:t>
        <a:bodyPr/>
        <a:lstStyle/>
        <a:p>
          <a:endParaRPr lang="en-US" sz="2000" b="1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DDC9BC7E-2D7A-497C-94B1-F05D4678BC9C}" type="parTrans" cxnId="{B0D82E80-A9CB-4D07-ADDA-55C6FB961B23}">
      <dgm:prSet/>
      <dgm:spPr/>
      <dgm:t>
        <a:bodyPr/>
        <a:lstStyle/>
        <a:p>
          <a:endParaRPr lang="en-US"/>
        </a:p>
      </dgm:t>
    </dgm:pt>
    <dgm:pt modelId="{DFA3B21E-0AD0-4D29-9ED2-86BFCD818D06}" type="sibTrans" cxnId="{B0D82E80-A9CB-4D07-ADDA-55C6FB961B23}">
      <dgm:prSet/>
      <dgm:spPr/>
      <dgm:t>
        <a:bodyPr/>
        <a:lstStyle/>
        <a:p>
          <a:endParaRPr lang="en-US"/>
        </a:p>
      </dgm:t>
    </dgm:pt>
    <dgm:pt modelId="{13BADBA4-1810-4A79-ACE3-CA5AABA52151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r>
            <a:rPr lang="en-US" sz="1400" b="1" dirty="0" smtClean="0"/>
            <a:t>Prevention Agenda</a:t>
          </a:r>
        </a:p>
        <a:p>
          <a:r>
            <a:rPr lang="en-US" sz="1400" b="1" dirty="0" smtClean="0"/>
            <a:t>(PA)</a:t>
          </a:r>
          <a:endParaRPr lang="en-US" sz="1400" b="1" dirty="0"/>
        </a:p>
      </dgm:t>
    </dgm:pt>
    <dgm:pt modelId="{905D5BF1-681A-481B-8C1B-52308FAA17E1}" type="parTrans" cxnId="{858124AC-C2D2-4659-9C7E-C7C3600EFECF}">
      <dgm:prSet/>
      <dgm:spPr/>
      <dgm:t>
        <a:bodyPr/>
        <a:lstStyle/>
        <a:p>
          <a:endParaRPr lang="en-US"/>
        </a:p>
      </dgm:t>
    </dgm:pt>
    <dgm:pt modelId="{28E41E0A-C54B-413B-A804-DE74DCC1A591}" type="sibTrans" cxnId="{858124AC-C2D2-4659-9C7E-C7C3600EFECF}">
      <dgm:prSet/>
      <dgm:spPr/>
      <dgm:t>
        <a:bodyPr/>
        <a:lstStyle/>
        <a:p>
          <a:endParaRPr lang="en-US"/>
        </a:p>
      </dgm:t>
    </dgm:pt>
    <dgm:pt modelId="{42AF724E-6D3F-4D82-8B31-699CA45B8C89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sz="1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NYS Population by Health Care Coverage* (19.5M New Yorkers) </a:t>
          </a:r>
        </a:p>
      </dgm:t>
    </dgm:pt>
    <dgm:pt modelId="{BDCB3B45-93E3-484B-B58C-34C3675F9B88}" type="parTrans" cxnId="{A985CE34-AA00-413F-B935-657DEA92CD0B}">
      <dgm:prSet/>
      <dgm:spPr/>
      <dgm:t>
        <a:bodyPr/>
        <a:lstStyle/>
        <a:p>
          <a:endParaRPr lang="en-US"/>
        </a:p>
      </dgm:t>
    </dgm:pt>
    <dgm:pt modelId="{7F760EA0-8607-40D4-8ED6-338EDF9CA4B5}" type="sibTrans" cxnId="{A985CE34-AA00-413F-B935-657DEA92CD0B}">
      <dgm:prSet/>
      <dgm:spPr/>
      <dgm:t>
        <a:bodyPr/>
        <a:lstStyle/>
        <a:p>
          <a:endParaRPr lang="en-US"/>
        </a:p>
      </dgm:t>
    </dgm:pt>
    <dgm:pt modelId="{9AA4561F-F12A-4DB6-AD94-5B621FEACF0C}">
      <dgm:prSet phldrT="[Text]" custT="1"/>
      <dgm:spPr>
        <a:ln>
          <a:solidFill>
            <a:schemeClr val="accent2"/>
          </a:solidFill>
        </a:ln>
      </dgm:spPr>
      <dgm:t>
        <a:bodyPr/>
        <a:lstStyle/>
        <a:p>
          <a:r>
            <a:rPr lang="en-US" sz="1600" b="1" dirty="0" smtClean="0"/>
            <a:t>Employer and Other Private:  10.53M (54%)</a:t>
          </a:r>
        </a:p>
      </dgm:t>
    </dgm:pt>
    <dgm:pt modelId="{2BB7AC35-E55A-471A-A83C-8604C989CAE0}" type="parTrans" cxnId="{496E37A1-30B6-42A0-AA83-6C1EF97E3D48}">
      <dgm:prSet/>
      <dgm:spPr/>
      <dgm:t>
        <a:bodyPr/>
        <a:lstStyle/>
        <a:p>
          <a:endParaRPr lang="en-US"/>
        </a:p>
      </dgm:t>
    </dgm:pt>
    <dgm:pt modelId="{C265E8E3-C0C1-497B-B580-25934348B89F}" type="sibTrans" cxnId="{496E37A1-30B6-42A0-AA83-6C1EF97E3D48}">
      <dgm:prSet/>
      <dgm:spPr/>
      <dgm:t>
        <a:bodyPr/>
        <a:lstStyle/>
        <a:p>
          <a:endParaRPr lang="en-US"/>
        </a:p>
      </dgm:t>
    </dgm:pt>
    <dgm:pt modelId="{221FDE67-73DC-4926-B239-6E4A6EA24F69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>
        <a:ln/>
      </dgm:spPr>
      <dgm:t>
        <a:bodyPr/>
        <a:lstStyle/>
        <a:p>
          <a:pPr algn="ctr"/>
          <a:r>
            <a:rPr lang="en-US" sz="1400" b="1" dirty="0" smtClean="0"/>
            <a:t>Population Health Improvement Programs</a:t>
          </a:r>
        </a:p>
        <a:p>
          <a:pPr algn="ctr"/>
          <a:r>
            <a:rPr lang="en-US" sz="1400" b="1" dirty="0" smtClean="0"/>
            <a:t>(PHIP) </a:t>
          </a:r>
          <a:endParaRPr lang="en-US" sz="1400" dirty="0"/>
        </a:p>
      </dgm:t>
    </dgm:pt>
    <dgm:pt modelId="{B4B0C571-5F7F-404E-8D66-346B05FE77F7}" type="parTrans" cxnId="{F580CB05-1334-4C06-A0A3-CCA2C7D9EFB1}">
      <dgm:prSet/>
      <dgm:spPr/>
      <dgm:t>
        <a:bodyPr/>
        <a:lstStyle/>
        <a:p>
          <a:endParaRPr lang="en-US"/>
        </a:p>
      </dgm:t>
    </dgm:pt>
    <dgm:pt modelId="{B11A74DF-7DD8-47B2-8BF0-852DF3AFABE9}" type="sibTrans" cxnId="{F580CB05-1334-4C06-A0A3-CCA2C7D9EFB1}">
      <dgm:prSet/>
      <dgm:spPr/>
      <dgm:t>
        <a:bodyPr/>
        <a:lstStyle/>
        <a:p>
          <a:endParaRPr lang="en-US"/>
        </a:p>
      </dgm:t>
    </dgm:pt>
    <dgm:pt modelId="{DB0DCE8C-3CF2-40A2-8C68-F0C995B02AA8}">
      <dgm:prSet phldrT="[Text]" custT="1"/>
      <dgm:spPr>
        <a:solidFill>
          <a:schemeClr val="accent1"/>
        </a:solidFill>
      </dgm:spPr>
      <dgm:t>
        <a:bodyPr/>
        <a:lstStyle/>
        <a:p>
          <a:endParaRPr lang="en-US"/>
        </a:p>
      </dgm:t>
    </dgm:pt>
    <dgm:pt modelId="{52731795-2186-4A5F-81F9-BDD08B26A509}" type="parTrans" cxnId="{E49CA24D-A234-4C56-95B2-D0414364695A}">
      <dgm:prSet/>
      <dgm:spPr/>
      <dgm:t>
        <a:bodyPr/>
        <a:lstStyle/>
        <a:p>
          <a:endParaRPr lang="en-US"/>
        </a:p>
      </dgm:t>
    </dgm:pt>
    <dgm:pt modelId="{941539E1-8D01-46D5-B037-B21E793436D3}" type="sibTrans" cxnId="{E49CA24D-A234-4C56-95B2-D0414364695A}">
      <dgm:prSet/>
      <dgm:spPr/>
      <dgm:t>
        <a:bodyPr/>
        <a:lstStyle/>
        <a:p>
          <a:endParaRPr lang="en-US"/>
        </a:p>
      </dgm:t>
    </dgm:pt>
    <dgm:pt modelId="{BCF7CFE2-2DF0-4F13-A08C-E5FB3F240695}">
      <dgm:prSet phldrT="[Text]" custT="1"/>
      <dgm:spPr>
        <a:ln>
          <a:solidFill>
            <a:schemeClr val="accent2"/>
          </a:solidFill>
        </a:ln>
      </dgm:spPr>
      <dgm:t>
        <a:bodyPr/>
        <a:lstStyle/>
        <a:p>
          <a:endParaRPr lang="en-US"/>
        </a:p>
      </dgm:t>
    </dgm:pt>
    <dgm:pt modelId="{4FE0FF50-4DAC-4064-B626-5AD725DA4966}" type="parTrans" cxnId="{A02AC2CD-4503-46AF-8383-0DC26450C3E2}">
      <dgm:prSet/>
      <dgm:spPr/>
      <dgm:t>
        <a:bodyPr/>
        <a:lstStyle/>
        <a:p>
          <a:endParaRPr lang="en-US"/>
        </a:p>
      </dgm:t>
    </dgm:pt>
    <dgm:pt modelId="{8F5193CE-4E15-4856-AF90-D298DDCDFFC6}" type="sibTrans" cxnId="{A02AC2CD-4503-46AF-8383-0DC26450C3E2}">
      <dgm:prSet/>
      <dgm:spPr/>
      <dgm:t>
        <a:bodyPr/>
        <a:lstStyle/>
        <a:p>
          <a:endParaRPr lang="en-US"/>
        </a:p>
      </dgm:t>
    </dgm:pt>
    <dgm:pt modelId="{7DA4AF0D-9258-4CAB-A671-2C774DF5ECFF}">
      <dgm:prSet phldrT="[Text]" custT="1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>
        <a:ln/>
      </dgm:spPr>
      <dgm:t>
        <a:bodyPr/>
        <a:lstStyle/>
        <a:p>
          <a:pPr algn="ctr"/>
          <a:r>
            <a:rPr lang="en-US" sz="1400" b="1" dirty="0" smtClean="0"/>
            <a:t>NY State of Health</a:t>
          </a:r>
        </a:p>
        <a:p>
          <a:pPr algn="ctr"/>
          <a:r>
            <a:rPr lang="en-US" sz="1400" b="1" dirty="0" smtClean="0"/>
            <a:t>960K (525K Medicaid</a:t>
          </a:r>
          <a:r>
            <a:rPr lang="en-US" sz="1600" b="1" dirty="0" smtClean="0"/>
            <a:t>)</a:t>
          </a:r>
        </a:p>
      </dgm:t>
    </dgm:pt>
    <dgm:pt modelId="{AAE0D1F7-A970-4A27-B1E7-7F2DC658713B}" type="parTrans" cxnId="{627F304A-D128-430D-803D-EB3F6FF005AE}">
      <dgm:prSet/>
      <dgm:spPr/>
      <dgm:t>
        <a:bodyPr/>
        <a:lstStyle/>
        <a:p>
          <a:endParaRPr lang="en-US"/>
        </a:p>
      </dgm:t>
    </dgm:pt>
    <dgm:pt modelId="{6FB1B73C-F1C2-47FC-AEA7-55CB857C3F04}" type="sibTrans" cxnId="{627F304A-D128-430D-803D-EB3F6FF005AE}">
      <dgm:prSet/>
      <dgm:spPr/>
      <dgm:t>
        <a:bodyPr/>
        <a:lstStyle/>
        <a:p>
          <a:endParaRPr lang="en-US"/>
        </a:p>
      </dgm:t>
    </dgm:pt>
    <dgm:pt modelId="{64F3F2DB-CE87-417B-99C4-814CA71BE0C0}" type="pres">
      <dgm:prSet presAssocID="{2C8BA054-4BC9-4083-9333-46167187B487}" presName="Name0" presStyleCnt="0">
        <dgm:presLayoutVars>
          <dgm:chMax val="3"/>
          <dgm:chPref val="1"/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564D73EE-7385-4FCC-AD7E-8290C08E8533}" type="pres">
      <dgm:prSet presAssocID="{2C8BA054-4BC9-4083-9333-46167187B487}" presName="outerBox" presStyleCnt="0"/>
      <dgm:spPr/>
    </dgm:pt>
    <dgm:pt modelId="{3B39E11F-A54D-4D31-AF59-750D9EF94419}" type="pres">
      <dgm:prSet presAssocID="{2C8BA054-4BC9-4083-9333-46167187B487}" presName="outerBoxParent" presStyleLbl="node1" presStyleIdx="0" presStyleCnt="3" custLinFactNeighborX="943"/>
      <dgm:spPr/>
      <dgm:t>
        <a:bodyPr/>
        <a:lstStyle/>
        <a:p>
          <a:endParaRPr lang="en-US"/>
        </a:p>
      </dgm:t>
    </dgm:pt>
    <dgm:pt modelId="{F67F489A-F7DF-44E1-BCF6-11E4FAC6CF7C}" type="pres">
      <dgm:prSet presAssocID="{2C8BA054-4BC9-4083-9333-46167187B487}" presName="outerBoxChildren" presStyleCnt="0"/>
      <dgm:spPr/>
    </dgm:pt>
    <dgm:pt modelId="{E24D9EA7-DF37-4E97-8BFD-D7CB83C4CD3B}" type="pres">
      <dgm:prSet presAssocID="{13BADBA4-1810-4A79-ACE3-CA5AABA52151}" presName="oChild" presStyleLbl="fgAcc1" presStyleIdx="0" presStyleCnt="3" custScaleX="183637" custScaleY="28846" custLinFactNeighborX="37170" custLinFactNeighborY="-188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5FF559-BE19-47EC-8090-1679EB9BBDEA}" type="pres">
      <dgm:prSet presAssocID="{2C8BA054-4BC9-4083-9333-46167187B487}" presName="middleBox" presStyleCnt="0"/>
      <dgm:spPr/>
    </dgm:pt>
    <dgm:pt modelId="{9F420EC9-4E43-421E-B41B-207C9C5F9480}" type="pres">
      <dgm:prSet presAssocID="{2C8BA054-4BC9-4083-9333-46167187B487}" presName="middleBoxParent" presStyleLbl="node1" presStyleIdx="1" presStyleCnt="3" custScaleX="87351" custScaleY="94261" custLinFactNeighborX="6964" custLinFactNeighborY="716"/>
      <dgm:spPr/>
      <dgm:t>
        <a:bodyPr/>
        <a:lstStyle/>
        <a:p>
          <a:endParaRPr lang="en-US"/>
        </a:p>
      </dgm:t>
    </dgm:pt>
    <dgm:pt modelId="{EECF181C-74A9-4A62-A3FC-87925573EE94}" type="pres">
      <dgm:prSet presAssocID="{2C8BA054-4BC9-4083-9333-46167187B487}" presName="middleBoxChildren" presStyleCnt="0"/>
      <dgm:spPr/>
    </dgm:pt>
    <dgm:pt modelId="{B1F126C2-4683-4C2D-85B6-BD66937D4ECE}" type="pres">
      <dgm:prSet presAssocID="{9AA4561F-F12A-4DB6-AD94-5B621FEACF0C}" presName="mChild" presStyleLbl="fgAcc1" presStyleIdx="1" presStyleCnt="3" custScaleX="225406" custScaleY="259044" custLinFactX="21255" custLinFactY="-123779" custLinFactNeighborX="100000" custLinFactNeighborY="-2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BE9B9D-DC94-4C45-BCF5-5E9886779A06}" type="pres">
      <dgm:prSet presAssocID="{C265E8E3-C0C1-497B-B580-25934348B89F}" presName="middleSibTrans" presStyleCnt="0"/>
      <dgm:spPr/>
    </dgm:pt>
    <dgm:pt modelId="{F580095F-18F9-4D95-8F93-9F1148B103DE}" type="pres">
      <dgm:prSet presAssocID="{221FDE67-73DC-4926-B239-6E4A6EA24F69}" presName="mChild" presStyleLbl="fgAcc1" presStyleIdx="2" presStyleCnt="3" custScaleX="164528" custScaleY="362966" custLinFactY="-294367" custLinFactNeighborX="-90968" custLinFactNeighborY="-3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04418E-4322-4582-91CE-E773A99D82E4}" type="pres">
      <dgm:prSet presAssocID="{2C8BA054-4BC9-4083-9333-46167187B487}" presName="centerBox" presStyleCnt="0"/>
      <dgm:spPr/>
    </dgm:pt>
    <dgm:pt modelId="{278B4E83-3EE3-46DF-8F22-150ED74E5CFC}" type="pres">
      <dgm:prSet presAssocID="{2C8BA054-4BC9-4083-9333-46167187B487}" presName="centerBoxParent" presStyleLbl="node1" presStyleIdx="2" presStyleCnt="3" custScaleX="48230" custScaleY="31279" custLinFactNeighborX="31033" custLinFactNeighborY="-27965"/>
      <dgm:spPr/>
      <dgm:t>
        <a:bodyPr/>
        <a:lstStyle/>
        <a:p>
          <a:endParaRPr lang="en-US"/>
        </a:p>
      </dgm:t>
    </dgm:pt>
  </dgm:ptLst>
  <dgm:cxnLst>
    <dgm:cxn modelId="{5FFB6807-4B9C-47B1-9FB1-2E1840450725}" type="presOf" srcId="{BFB287B4-3E34-4C49-BFFC-9EBAADD0E87E}" destId="{3B39E11F-A54D-4D31-AF59-750D9EF94419}" srcOrd="0" destOrd="0" presId="urn:microsoft.com/office/officeart/2005/8/layout/target2"/>
    <dgm:cxn modelId="{F580CB05-1334-4C06-A0A3-CCA2C7D9EFB1}" srcId="{42AF724E-6D3F-4D82-8B31-699CA45B8C89}" destId="{221FDE67-73DC-4926-B239-6E4A6EA24F69}" srcOrd="1" destOrd="0" parTransId="{B4B0C571-5F7F-404E-8D66-346B05FE77F7}" sibTransId="{B11A74DF-7DD8-47B2-8BF0-852DF3AFABE9}"/>
    <dgm:cxn modelId="{627F304A-D128-430D-803D-EB3F6FF005AE}" srcId="{2C8BA054-4BC9-4083-9333-46167187B487}" destId="{7DA4AF0D-9258-4CAB-A671-2C774DF5ECFF}" srcOrd="2" destOrd="0" parTransId="{AAE0D1F7-A970-4A27-B1E7-7F2DC658713B}" sibTransId="{6FB1B73C-F1C2-47FC-AEA7-55CB857C3F04}"/>
    <dgm:cxn modelId="{B9D9ECE5-A33E-47D5-A5ED-AFB1846BDA51}" type="presOf" srcId="{7DA4AF0D-9258-4CAB-A671-2C774DF5ECFF}" destId="{278B4E83-3EE3-46DF-8F22-150ED74E5CFC}" srcOrd="0" destOrd="0" presId="urn:microsoft.com/office/officeart/2005/8/layout/target2"/>
    <dgm:cxn modelId="{4B2168FE-C0D5-4495-A6CB-47259C0EC52D}" type="presOf" srcId="{2C8BA054-4BC9-4083-9333-46167187B487}" destId="{64F3F2DB-CE87-417B-99C4-814CA71BE0C0}" srcOrd="0" destOrd="0" presId="urn:microsoft.com/office/officeart/2005/8/layout/target2"/>
    <dgm:cxn modelId="{D956A056-277A-40E8-B59A-8E1B6B5FDF5D}" type="presOf" srcId="{221FDE67-73DC-4926-B239-6E4A6EA24F69}" destId="{F580095F-18F9-4D95-8F93-9F1148B103DE}" srcOrd="0" destOrd="0" presId="urn:microsoft.com/office/officeart/2005/8/layout/target2"/>
    <dgm:cxn modelId="{B0D82E80-A9CB-4D07-ADDA-55C6FB961B23}" srcId="{2C8BA054-4BC9-4083-9333-46167187B487}" destId="{BFB287B4-3E34-4C49-BFFC-9EBAADD0E87E}" srcOrd="0" destOrd="0" parTransId="{DDC9BC7E-2D7A-497C-94B1-F05D4678BC9C}" sibTransId="{DFA3B21E-0AD0-4D29-9ED2-86BFCD818D06}"/>
    <dgm:cxn modelId="{E49CA24D-A234-4C56-95B2-D0414364695A}" srcId="{2C8BA054-4BC9-4083-9333-46167187B487}" destId="{DB0DCE8C-3CF2-40A2-8C68-F0C995B02AA8}" srcOrd="3" destOrd="0" parTransId="{52731795-2186-4A5F-81F9-BDD08B26A509}" sibTransId="{941539E1-8D01-46D5-B037-B21E793436D3}"/>
    <dgm:cxn modelId="{3625070E-7771-4231-BEC5-BE5886557159}" type="presOf" srcId="{13BADBA4-1810-4A79-ACE3-CA5AABA52151}" destId="{E24D9EA7-DF37-4E97-8BFD-D7CB83C4CD3B}" srcOrd="0" destOrd="0" presId="urn:microsoft.com/office/officeart/2005/8/layout/target2"/>
    <dgm:cxn modelId="{A985CE34-AA00-413F-B935-657DEA92CD0B}" srcId="{2C8BA054-4BC9-4083-9333-46167187B487}" destId="{42AF724E-6D3F-4D82-8B31-699CA45B8C89}" srcOrd="1" destOrd="0" parTransId="{BDCB3B45-93E3-484B-B58C-34C3675F9B88}" sibTransId="{7F760EA0-8607-40D4-8ED6-338EDF9CA4B5}"/>
    <dgm:cxn modelId="{858124AC-C2D2-4659-9C7E-C7C3600EFECF}" srcId="{BFB287B4-3E34-4C49-BFFC-9EBAADD0E87E}" destId="{13BADBA4-1810-4A79-ACE3-CA5AABA52151}" srcOrd="0" destOrd="0" parTransId="{905D5BF1-681A-481B-8C1B-52308FAA17E1}" sibTransId="{28E41E0A-C54B-413B-A804-DE74DCC1A591}"/>
    <dgm:cxn modelId="{2331C21C-9C51-449D-9311-38C85AB1B7CA}" type="presOf" srcId="{9AA4561F-F12A-4DB6-AD94-5B621FEACF0C}" destId="{B1F126C2-4683-4C2D-85B6-BD66937D4ECE}" srcOrd="0" destOrd="0" presId="urn:microsoft.com/office/officeart/2005/8/layout/target2"/>
    <dgm:cxn modelId="{F761AA9A-22FD-452B-A993-35626D047E45}" type="presOf" srcId="{42AF724E-6D3F-4D82-8B31-699CA45B8C89}" destId="{9F420EC9-4E43-421E-B41B-207C9C5F9480}" srcOrd="0" destOrd="0" presId="urn:microsoft.com/office/officeart/2005/8/layout/target2"/>
    <dgm:cxn modelId="{496E37A1-30B6-42A0-AA83-6C1EF97E3D48}" srcId="{42AF724E-6D3F-4D82-8B31-699CA45B8C89}" destId="{9AA4561F-F12A-4DB6-AD94-5B621FEACF0C}" srcOrd="0" destOrd="0" parTransId="{2BB7AC35-E55A-471A-A83C-8604C989CAE0}" sibTransId="{C265E8E3-C0C1-497B-B580-25934348B89F}"/>
    <dgm:cxn modelId="{A02AC2CD-4503-46AF-8383-0DC26450C3E2}" srcId="{DB0DCE8C-3CF2-40A2-8C68-F0C995B02AA8}" destId="{BCF7CFE2-2DF0-4F13-A08C-E5FB3F240695}" srcOrd="0" destOrd="0" parTransId="{4FE0FF50-4DAC-4064-B626-5AD725DA4966}" sibTransId="{8F5193CE-4E15-4856-AF90-D298DDCDFFC6}"/>
    <dgm:cxn modelId="{568DDBEE-C8C3-4E15-9A7E-DE5BCB8173C5}" type="presParOf" srcId="{64F3F2DB-CE87-417B-99C4-814CA71BE0C0}" destId="{564D73EE-7385-4FCC-AD7E-8290C08E8533}" srcOrd="0" destOrd="0" presId="urn:microsoft.com/office/officeart/2005/8/layout/target2"/>
    <dgm:cxn modelId="{0A458AAE-367A-41FB-9086-92023D76DDD0}" type="presParOf" srcId="{564D73EE-7385-4FCC-AD7E-8290C08E8533}" destId="{3B39E11F-A54D-4D31-AF59-750D9EF94419}" srcOrd="0" destOrd="0" presId="urn:microsoft.com/office/officeart/2005/8/layout/target2"/>
    <dgm:cxn modelId="{F041F341-7E55-4B10-AA25-E5D52EEE2124}" type="presParOf" srcId="{564D73EE-7385-4FCC-AD7E-8290C08E8533}" destId="{F67F489A-F7DF-44E1-BCF6-11E4FAC6CF7C}" srcOrd="1" destOrd="0" presId="urn:microsoft.com/office/officeart/2005/8/layout/target2"/>
    <dgm:cxn modelId="{835F8A43-446A-4F9F-9FA0-AE2D4641BE02}" type="presParOf" srcId="{F67F489A-F7DF-44E1-BCF6-11E4FAC6CF7C}" destId="{E24D9EA7-DF37-4E97-8BFD-D7CB83C4CD3B}" srcOrd="0" destOrd="0" presId="urn:microsoft.com/office/officeart/2005/8/layout/target2"/>
    <dgm:cxn modelId="{5AC3AAF0-8150-4CE2-8648-00B77204F61C}" type="presParOf" srcId="{64F3F2DB-CE87-417B-99C4-814CA71BE0C0}" destId="{975FF559-BE19-47EC-8090-1679EB9BBDEA}" srcOrd="1" destOrd="0" presId="urn:microsoft.com/office/officeart/2005/8/layout/target2"/>
    <dgm:cxn modelId="{5AA989A7-0B7E-42CF-A0C4-88B5FC249DDC}" type="presParOf" srcId="{975FF559-BE19-47EC-8090-1679EB9BBDEA}" destId="{9F420EC9-4E43-421E-B41B-207C9C5F9480}" srcOrd="0" destOrd="0" presId="urn:microsoft.com/office/officeart/2005/8/layout/target2"/>
    <dgm:cxn modelId="{3D44F1E1-7D75-46C3-989E-FD00E0724549}" type="presParOf" srcId="{975FF559-BE19-47EC-8090-1679EB9BBDEA}" destId="{EECF181C-74A9-4A62-A3FC-87925573EE94}" srcOrd="1" destOrd="0" presId="urn:microsoft.com/office/officeart/2005/8/layout/target2"/>
    <dgm:cxn modelId="{3DCE7B87-9310-46E6-A368-9C1A9E0A8B11}" type="presParOf" srcId="{EECF181C-74A9-4A62-A3FC-87925573EE94}" destId="{B1F126C2-4683-4C2D-85B6-BD66937D4ECE}" srcOrd="0" destOrd="0" presId="urn:microsoft.com/office/officeart/2005/8/layout/target2"/>
    <dgm:cxn modelId="{6523F529-672B-4FE9-AC25-57824F8F71C3}" type="presParOf" srcId="{EECF181C-74A9-4A62-A3FC-87925573EE94}" destId="{21BE9B9D-DC94-4C45-BCF5-5E9886779A06}" srcOrd="1" destOrd="0" presId="urn:microsoft.com/office/officeart/2005/8/layout/target2"/>
    <dgm:cxn modelId="{53C53962-76CC-42A8-B13D-62B8E0BA0298}" type="presParOf" srcId="{EECF181C-74A9-4A62-A3FC-87925573EE94}" destId="{F580095F-18F9-4D95-8F93-9F1148B103DE}" srcOrd="2" destOrd="0" presId="urn:microsoft.com/office/officeart/2005/8/layout/target2"/>
    <dgm:cxn modelId="{ED37D7AF-BE1C-46F3-A253-C436C6E5813D}" type="presParOf" srcId="{64F3F2DB-CE87-417B-99C4-814CA71BE0C0}" destId="{4504418E-4322-4582-91CE-E773A99D82E4}" srcOrd="2" destOrd="0" presId="urn:microsoft.com/office/officeart/2005/8/layout/target2"/>
    <dgm:cxn modelId="{8E63619F-793A-480D-A031-9C4A19CFB411}" type="presParOf" srcId="{4504418E-4322-4582-91CE-E773A99D82E4}" destId="{278B4E83-3EE3-46DF-8F22-150ED74E5CFC}" srcOrd="0" destOrd="0" presId="urn:microsoft.com/office/officeart/2005/8/layout/targe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2">
  <dgm:title val=""/>
  <dgm:desc val=""/>
  <dgm:catLst>
    <dgm:cat type="relationship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chMax val="3"/>
      <dgm:chPref val="1"/>
      <dgm:dir/>
      <dgm:animLvl val="lvl"/>
      <dgm:resizeHandles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 ch" ptType="node node" st="1 1" cnt="1 0" func="cnt" op="gt" val="0">
            <dgm:choose name="Name5">
              <dgm:if name="Name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395"/>
                  <dgm:constr type="t" for="ch" forName="centerBox" refType="h" fact="0.5"/>
                  <dgm:constr type="w" for="ch" forName="centerBox" refType="w" fact="0.5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22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8">
            <dgm:choose name="Name9">
              <dgm:if name="Name1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26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if>
      <dgm:else name="Name12">
        <dgm:choose name="Name13">
          <dgm:if name="Name14" axis="ch ch" ptType="node node" st="1 1" cnt="1 0" func="cnt" op="gt" val="0">
            <dgm:choose name="Name15">
              <dgm:if name="Name1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18">
            <dgm:choose name="Name19">
              <dgm:if name="Name2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2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else>
    </dgm:choose>
    <dgm:ruleLst/>
    <dgm:choose name="Name22">
      <dgm:if name="Name23" axis="root ch" ptType="all node" st="1 1" cnt="0 0" func="cnt" op="gte" val="1">
        <dgm:layoutNode name="outerBox" styleLbl="node1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24">
            <dgm:if name="Name25" axis="root ch" ptType="all node" st="1 1" cnt="0 0" func="cnt" op="gt" val="1">
              <dgm:choose name="Name26">
                <dgm:if name="Name27" func="var" arg="dir" op="equ" val="norm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0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if>
                <dgm:else name="Name28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8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else>
              </dgm:choose>
            </dgm:if>
            <dgm:else name="Name29">
              <dgm:constrLst>
                <dgm:constr type="l" for="ch" forName="outerBoxParent"/>
                <dgm:constr type="t" for="ch" forName="outerBoxParent"/>
                <dgm:constr type="w" for="ch" forName="outerBoxParent" refType="w"/>
                <dgm:constr type="h" for="ch" forName="outerBoxParent" refType="h"/>
                <dgm:constr type="bMarg" for="ch" forName="outerBoxParent" refType="h" fact="1.75"/>
                <dgm:constr type="l" for="ch" forName="outerBoxChildren" refType="w" fact="0.025"/>
                <dgm:constr type="t" for="ch" forName="outerBoxChildren" refType="h" fact="0.45"/>
                <dgm:constr type="w" for="ch" forName="outerBoxChildren" refType="w" fact="0.95"/>
                <dgm:constr type="h" for="ch" forName="outerBoxChildren" refType="h" fact="0.45"/>
              </dgm:constrLst>
            </dgm:else>
          </dgm:choose>
          <dgm:ruleLst/>
          <dgm:layoutNode name="ou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085"/>
              </dgm:adjLst>
            </dgm:shape>
            <dgm:presOf axis="ch" ptType="node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outerBoxChildren">
            <dgm:choose name="Name30">
              <dgm:if name="Name31" axis="root ch" ptType="all node" st="1 1" cnt="0 0" func="cnt" op="gt" val="1">
                <dgm:alg type="lin">
                  <dgm:param type="linDir" val="fromT"/>
                  <dgm:param type="vertAlign" val="t"/>
                </dgm:alg>
              </dgm:if>
              <dgm:else name="Name32">
                <dgm:choose name="Name33">
                  <dgm:if name="Name34" func="var" arg="dir" op="equ" val="norm">
                    <dgm:alg type="lin">
                      <dgm:param type="horzAlign" val="l"/>
                    </dgm:alg>
                  </dgm:if>
                  <dgm:else name="Name35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oChild" refType="w"/>
              <dgm:constr type="h" for="ch" forName="oChild" refType="h"/>
            </dgm:constrLst>
            <dgm:ruleLst/>
            <dgm:forEach name="Name36" axis="ch ch" ptType="node node" st="1 1" cnt="1 0">
              <dgm:layoutNode name="o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37" axis="followSib" ptType="sibTrans" cnt="1">
                <dgm:layoutNode name="outer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38"/>
    </dgm:choose>
    <dgm:choose name="Name39">
      <dgm:if name="Name40" axis="root ch" ptType="all node" st="1 1" cnt="0 0" func="cnt" op="gte" val="2">
        <dgm:layoutNode name="middle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41">
            <dgm:if name="Name42" axis="root ch" ptType="all node" st="1 1" cnt="0 0" func="cnt" op="gt" val="2">
              <dgm:choose name="Name43">
                <dgm:if name="Name44" func="var" arg="dir" op="equ" val="norm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02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if>
                <dgm:else name="Name45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77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else>
              </dgm:choose>
            </dgm:if>
            <dgm:else name="Name46">
              <dgm:constrLst>
                <dgm:constr type="l" for="ch" forName="middleBoxParent"/>
                <dgm:constr type="t" for="ch" forName="middleBoxParent"/>
                <dgm:constr type="w" for="ch" forName="middleBoxParent" refType="w"/>
                <dgm:constr type="h" for="ch" forName="middleBoxParent" refType="h"/>
                <dgm:constr type="bMarg" for="ch" forName="middleBoxParent" refType="h" fact="1.8"/>
                <dgm:constr type="l" for="ch" forName="middleBoxChildren" refType="w" fact="0.025"/>
                <dgm:constr type="t" for="ch" forName="middleBoxChildren" refType="h" fact="0.45"/>
                <dgm:constr type="w" for="ch" forName="middleBoxChildren" refType="w" fact="0.95"/>
                <dgm:constr type="h" for="ch" forName="middleBoxChildren" refType="h" fact="0.45"/>
              </dgm:constrLst>
            </dgm:else>
          </dgm:choose>
          <dgm:ruleLst/>
          <dgm:layoutNode name="middle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2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middleBoxChildren">
            <dgm:choose name="Name47">
              <dgm:if name="Name48" axis="root ch" ptType="all node" st="1 1" cnt="0 0" func="cnt" op="gt" val="2">
                <dgm:alg type="lin">
                  <dgm:param type="linDir" val="fromT"/>
                  <dgm:param type="vertAlign" val="t"/>
                </dgm:alg>
              </dgm:if>
              <dgm:else name="Name49">
                <dgm:choose name="Name50">
                  <dgm:if name="Name51" func="var" arg="dir" op="equ" val="norm">
                    <dgm:alg type="lin">
                      <dgm:param type="horzAlign" val="l"/>
                    </dgm:alg>
                  </dgm:if>
                  <dgm:else name="Name52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mChild" refType="w"/>
              <dgm:constr type="h" for="ch" forName="mChild" refType="h"/>
            </dgm:constrLst>
            <dgm:ruleLst/>
            <dgm:forEach name="Name53" axis="ch ch" ptType="node node" st="2 1" cnt="1 0">
              <dgm:layoutNode name="m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54" axis="followSib" ptType="sibTrans" cnt="1">
                <dgm:layoutNode name="middle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55"/>
    </dgm:choose>
    <dgm:choose name="Name56">
      <dgm:if name="Name57" axis="root ch" ptType="all node" st="1 1" cnt="0 0" func="cnt" op="gte" val="3">
        <dgm:layoutNode name="center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58">
            <dgm:if name="Name59" axis="ch ch" ptType="node node" st="3 1" cnt="1 0" func="cnt" op="gt" val="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  <dgm:constr type="bMarg" for="ch" forName="centerBoxParent" refType="h" fact="1.6"/>
                <dgm:constr type="l" for="ch" forName="centerBoxChildren" refType="w" fact="0.025"/>
                <dgm:constr type="t" for="ch" forName="centerBoxChildren" refType="h" fact="0.45"/>
                <dgm:constr type="w" for="ch" forName="centerBoxChildren" refType="w" fact="0.95"/>
                <dgm:constr type="h" for="ch" forName="centerBoxChildren" refType="h" fact="0.45"/>
              </dgm:constrLst>
            </dgm:if>
            <dgm:else name="Name6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</dgm:constrLst>
            </dgm:else>
          </dgm:choose>
          <dgm:ruleLst/>
          <dgm:layoutNode name="cen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3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choose name="Name61">
            <dgm:if name="Name62" axis="ch ch" ptType="node node" st="3 1" cnt="1 0" func="cnt" op="gt" val="0">
              <dgm:layoutNode name="centerBoxChildren">
                <dgm:choose name="Name63">
                  <dgm:if name="Name64" func="var" arg="dir" op="equ" val="norm">
                    <dgm:alg type="lin">
                      <dgm:param type="horzAlign" val="l"/>
                    </dgm:alg>
                  </dgm:if>
                  <dgm:else name="Name65">
                    <dgm:alg type="lin">
                      <dgm:param type="linDir" val="fromR"/>
                      <dgm:param type="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cChild" refType="w"/>
                  <dgm:constr type="h" for="ch" forName="cChild" refType="h"/>
                </dgm:constrLst>
                <dgm:ruleLst/>
                <dgm:forEach name="Name66" axis="ch ch" ptType="node node" st="3 1" cnt="1 0">
                  <dgm:layoutNode name="cChild" styleLbl="fgAcc1">
                    <dgm:varLst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05"/>
                      </dgm:adjLst>
                    </dgm:shape>
                    <dgm:presOf axis="desOrSelf" ptType="node"/>
                    <dgm:constrLst>
                      <dgm:constr type="tMarg" refType="primFontSz" fact="0.3"/>
                      <dgm:constr type="bMarg" refType="primFontSz" fact="0.3"/>
                      <dgm:constr type="lMarg" refType="primFontSz" fact="0.3"/>
                      <dgm:constr type="rMarg" refType="primFontSz" fact="0.3"/>
                    </dgm:constrLst>
                    <dgm:ruleLst>
                      <dgm:rule type="primFontSz" val="5" fact="NaN" max="NaN"/>
                    </dgm:ruleLst>
                  </dgm:layoutNode>
                  <dgm:forEach name="Name67" axis="followSib" ptType="sibTrans" cnt="1">
                    <dgm:layoutNode name="centerSibTrans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userA"/>
                        <dgm:constr type="w" refType="userA" fact="0.015"/>
                        <dgm:constr type="h" refType="userA" fact="0.015"/>
                      </dgm:constrLst>
                      <dgm:ruleLst/>
                    </dgm:layoutNode>
                  </dgm:forEach>
                </dgm:forEach>
              </dgm:layoutNode>
            </dgm:if>
            <dgm:else name="Name68"/>
          </dgm:choose>
        </dgm:layoutNode>
      </dgm:if>
      <dgm:else name="Name6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4850" y="581025"/>
            <a:ext cx="5453063" cy="40909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5359" y="4995327"/>
            <a:ext cx="5844154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20220" y="8928492"/>
            <a:ext cx="544056" cy="184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64213" y="95899"/>
            <a:ext cx="6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8226" indent="-287779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51117" indent="-230224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11564" indent="-230224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72011" indent="-230224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32458" indent="-23022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92906" indent="-23022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53353" indent="-23022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13798" indent="-230224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/>
              <a:pPr eaLnBrk="1" hangingPunct="1"/>
              <a:t>1</a:t>
            </a:fld>
            <a:endParaRPr lang="en-US" sz="1200" dirty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55361" y="4995333"/>
            <a:ext cx="5844153" cy="246221"/>
          </a:xfrm>
          <a:noFill/>
        </p:spPr>
        <p:txBody>
          <a:bodyPr/>
          <a:lstStyle/>
          <a:p>
            <a:pPr eaLnBrk="1" hangingPunct="1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541398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9" y="4995328"/>
            <a:ext cx="5844154" cy="246221"/>
          </a:xfrm>
        </p:spPr>
        <p:txBody>
          <a:bodyPr/>
          <a:lstStyle/>
          <a:p>
            <a:r>
              <a:rPr lang="en-US" dirty="0" smtClean="0"/>
              <a:t>Added anim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94EDC-C792-43AA-855F-280B265B463E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6328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9" y="4995327"/>
            <a:ext cx="5844154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7015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9" y="4995327"/>
            <a:ext cx="5844154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5255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9505" y="5159109"/>
            <a:ext cx="6098247" cy="25429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E94EDC-C792-43AA-855F-280B265B463E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8058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gi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50187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/>
        </p:nvSpPr>
        <p:spPr>
          <a:xfrm>
            <a:off x="-1" y="5337799"/>
            <a:ext cx="8958263" cy="651648"/>
          </a:xfrm>
          <a:prstGeom prst="rect">
            <a:avLst/>
          </a:prstGeom>
          <a:solidFill>
            <a:srgbClr val="DCDCD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16" name="Picture 11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9594" y="5027912"/>
            <a:ext cx="5759072" cy="1271420"/>
          </a:xfrm>
          <a:prstGeom prst="rect">
            <a:avLst/>
          </a:prstGeom>
          <a:noFill/>
          <a:ln w="508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2" descr="http://etc.usf.edu/clipart/57900/57952/57952_ny_seal_md.gif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7450" y="851287"/>
            <a:ext cx="4046538" cy="4059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/>
          <p:cNvSpPr>
            <a:spLocks/>
          </p:cNvSpPr>
          <p:nvPr/>
        </p:nvSpPr>
        <p:spPr>
          <a:xfrm>
            <a:off x="2457450" y="851287"/>
            <a:ext cx="4046538" cy="4059224"/>
          </a:xfrm>
          <a:prstGeom prst="rect">
            <a:avLst/>
          </a:prstGeom>
          <a:solidFill>
            <a:schemeClr val="bg1">
              <a:alpha val="9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noProof="0" dirty="0" smtClean="0">
              <a:latin typeface="+mn-lt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640013" y="4338639"/>
            <a:ext cx="5121275" cy="2252663"/>
            <a:chOff x="1663" y="3190"/>
            <a:chExt cx="3226" cy="141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90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359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1663" y="4455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804863" eaLnBrk="0" hangingPunct="0"/>
              <a:r>
                <a:rPr lang="en-US" sz="800" baseline="0" noProof="0" dirty="0"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2640013" y="213360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640013" y="3374619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165" y="86877"/>
            <a:ext cx="896937" cy="79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BottomBar"/>
          <p:cNvSpPr>
            <a:spLocks noChangeArrowheads="1"/>
          </p:cNvSpPr>
          <p:nvPr userDrawn="1"/>
        </p:nvSpPr>
        <p:spPr bwMode="auto">
          <a:xfrm>
            <a:off x="0" y="6300789"/>
            <a:ext cx="8961438" cy="422275"/>
          </a:xfrm>
          <a:prstGeom prst="rect">
            <a:avLst/>
          </a:prstGeom>
          <a:solidFill>
            <a:srgbClr val="DCDCDC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sz="1350" dirty="0">
              <a:solidFill>
                <a:srgbClr val="292934"/>
              </a:solidFill>
              <a:latin typeface="Arial"/>
            </a:endParaRPr>
          </a:p>
        </p:txBody>
      </p:sp>
      <p:sp>
        <p:nvSpPr>
          <p:cNvPr id="7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419113" y="6403976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671442"/>
            <a:r>
              <a:rPr lang="en-US" sz="900" dirty="0">
                <a:solidFill>
                  <a:srgbClr val="292934"/>
                </a:solidFill>
                <a:latin typeface="Arial"/>
              </a:rPr>
              <a:t>|</a:t>
            </a: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0277" y="6351086"/>
            <a:ext cx="1480321" cy="326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166" y="86877"/>
            <a:ext cx="896937" cy="79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292934"/>
                </a:solidFill>
              </a:rPr>
              <a:pPr/>
              <a:t>‹#›</a:t>
            </a:fld>
            <a:endParaRPr lang="en-US" sz="750" dirty="0">
              <a:solidFill>
                <a:srgbClr val="292934"/>
              </a:solidFill>
            </a:endParaRPr>
          </a:p>
        </p:txBody>
      </p:sp>
      <p:sp>
        <p:nvSpPr>
          <p:cNvPr id="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4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2382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165" y="86877"/>
            <a:ext cx="896937" cy="79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292934"/>
                </a:solidFill>
              </a:rPr>
              <a:pPr/>
              <a:t>‹#›</a:t>
            </a:fld>
            <a:endParaRPr lang="en-US" dirty="0">
              <a:solidFill>
                <a:srgbClr val="292934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4655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6212910"/>
            <a:ext cx="8961438" cy="49603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6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8" name="SlideLogoSeparator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sp>
        <p:nvSpPr>
          <p:cNvPr id="9" name="SlideBottomBar"/>
          <p:cNvSpPr>
            <a:spLocks noChangeArrowheads="1"/>
          </p:cNvSpPr>
          <p:nvPr userDrawn="1"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DCDCDC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" name="SlideLogoSeparator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pic>
        <p:nvPicPr>
          <p:cNvPr id="11" name="Picture 11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0276" y="6351085"/>
            <a:ext cx="1480321" cy="326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165" y="86877"/>
            <a:ext cx="896937" cy="79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292934"/>
                </a:solidFill>
              </a:rPr>
              <a:pPr/>
              <a:t>‹#›</a:t>
            </a:fld>
            <a:endParaRPr lang="en-US" dirty="0">
              <a:solidFill>
                <a:srgbClr val="29293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09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74016782-67B8-4EF8-BADE-C3CDEADF5C7D}" type="datetimeFigureOut">
              <a:rPr lang="en-US" smtClean="0"/>
              <a:t>2/4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/>
          <a:lstStyle/>
          <a:p>
            <a:fld id="{167D3F58-AD56-475C-87DA-DB0D5D6E69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7656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047052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1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88"/>
            <a:ext cx="8961438" cy="422275"/>
          </a:xfrm>
          <a:prstGeom prst="rect">
            <a:avLst/>
          </a:prstGeom>
          <a:solidFill>
            <a:srgbClr val="DCDCDC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noProof="0" dirty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419112" y="6403975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350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pic>
        <p:nvPicPr>
          <p:cNvPr id="18" name="Picture 11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0276" y="6351085"/>
            <a:ext cx="1480321" cy="3268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165" y="86877"/>
            <a:ext cx="896937" cy="79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667" r:id="rId4"/>
    <p:sldLayoutId id="2147483669" r:id="rId5"/>
    <p:sldLayoutId id="2147483670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ealth.ny.gov/technology/innovation_plan_initiative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hyperlink" Target="mailto:sim@health.ny.gov" TargetMode="External"/><Relationship Id="rId4" Type="http://schemas.openxmlformats.org/officeDocument/2006/relationships/hyperlink" Target="http://innovation.cms.gov/initiatives/state-innovations/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health.ny.gov/technology/innovation_plan_initiative/docs/ny_state_health_innovation_plan.pdf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7"/>
          <p:cNvSpPr>
            <a:spLocks noChangeArrowheads="1"/>
          </p:cNvSpPr>
          <p:nvPr/>
        </p:nvSpPr>
        <p:spPr bwMode="gray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endParaRPr lang="en-US" dirty="0">
              <a:latin typeface="+mn-lt"/>
            </a:endParaRPr>
          </a:p>
        </p:txBody>
      </p:sp>
      <p:sp>
        <p:nvSpPr>
          <p:cNvPr id="10" name="Rectangle 54"/>
          <p:cNvSpPr>
            <a:spLocks noGrp="1" noChangeArrowheads="1"/>
          </p:cNvSpPr>
          <p:nvPr>
            <p:ph type="ctrTitle"/>
          </p:nvPr>
        </p:nvSpPr>
        <p:spPr bwMode="gray">
          <a:xfrm>
            <a:off x="1676673" y="1611099"/>
            <a:ext cx="5652595" cy="3077766"/>
          </a:xfrm>
        </p:spPr>
        <p:txBody>
          <a:bodyPr/>
          <a:lstStyle/>
          <a:p>
            <a:r>
              <a:rPr lang="en-US" b="1" dirty="0" smtClean="0"/>
              <a:t>NYS Health Innovation Plan and SIM Testing </a:t>
            </a:r>
            <a:r>
              <a:rPr lang="en-US" b="1" dirty="0"/>
              <a:t>Grant</a:t>
            </a:r>
            <a:br>
              <a:rPr lang="en-US" b="1" dirty="0"/>
            </a:br>
            <a:r>
              <a:rPr lang="en-US" b="1" dirty="0" smtClean="0"/>
              <a:t>    	</a:t>
            </a:r>
            <a:r>
              <a:rPr lang="en-US" sz="2400" b="1" dirty="0" smtClean="0"/>
              <a:t>Ad </a:t>
            </a:r>
            <a:r>
              <a:rPr lang="en-US" sz="2400" b="1" dirty="0"/>
              <a:t>Hoc Committee to Lead </a:t>
            </a:r>
            <a:r>
              <a:rPr lang="en-US" sz="2400" b="1" dirty="0" smtClean="0"/>
              <a:t>the			Prevention </a:t>
            </a:r>
            <a:r>
              <a:rPr lang="en-US" sz="2400" b="1" dirty="0"/>
              <a:t>Agenda</a:t>
            </a:r>
            <a:r>
              <a:rPr lang="en-US" sz="2400" b="1" dirty="0" smtClean="0">
                <a:solidFill>
                  <a:srgbClr val="000000"/>
                </a:solidFill>
              </a:rPr>
              <a:t/>
            </a:r>
            <a:br>
              <a:rPr lang="en-US" sz="2400" b="1" dirty="0" smtClean="0">
                <a:solidFill>
                  <a:srgbClr val="000000"/>
                </a:solidFill>
              </a:rPr>
            </a:br>
            <a:r>
              <a:rPr lang="en-US" sz="2400" b="1" dirty="0" smtClean="0">
                <a:solidFill>
                  <a:srgbClr val="000000"/>
                </a:solidFill>
              </a:rPr>
              <a:t/>
            </a:r>
            <a:br>
              <a:rPr lang="en-US" sz="2400" b="1" dirty="0" smtClean="0">
                <a:solidFill>
                  <a:srgbClr val="000000"/>
                </a:solidFill>
              </a:rPr>
            </a:br>
            <a:r>
              <a:rPr lang="en-US" sz="2400" b="1" dirty="0" smtClean="0">
                <a:solidFill>
                  <a:srgbClr val="000000"/>
                </a:solidFill>
              </a:rPr>
              <a:t/>
            </a:r>
            <a:br>
              <a:rPr lang="en-US" sz="2400" b="1" dirty="0" smtClean="0">
                <a:solidFill>
                  <a:srgbClr val="000000"/>
                </a:solidFill>
              </a:rPr>
            </a:br>
            <a:r>
              <a:rPr lang="en-US" sz="1600" dirty="0" smtClean="0">
                <a:solidFill>
                  <a:srgbClr val="000000"/>
                </a:solidFill>
              </a:rPr>
              <a:t>January 29, 2015</a:t>
            </a:r>
            <a:br>
              <a:rPr lang="en-US" sz="1600" dirty="0" smtClean="0">
                <a:solidFill>
                  <a:srgbClr val="000000"/>
                </a:solidFill>
              </a:rPr>
            </a:br>
            <a:endParaRPr lang="en-US" sz="1600" b="1" dirty="0" smtClean="0">
              <a:solidFill>
                <a:srgbClr val="00000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14530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7097443"/>
              </p:ext>
            </p:extLst>
          </p:nvPr>
        </p:nvGraphicFramePr>
        <p:xfrm>
          <a:off x="466368" y="969486"/>
          <a:ext cx="8065294" cy="510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647"/>
                <a:gridCol w="4032647"/>
              </a:tblGrid>
              <a:tr h="373393"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effectLst/>
                        </a:rPr>
                        <a:t>Shared</a:t>
                      </a:r>
                      <a:r>
                        <a:rPr lang="en-US" sz="1600" baseline="0" dirty="0" smtClean="0">
                          <a:effectLst/>
                        </a:rPr>
                        <a:t> Goals - All Initiatives</a:t>
                      </a:r>
                      <a:endParaRPr lang="en-US" sz="1600" dirty="0">
                        <a:effectLst/>
                      </a:endParaRPr>
                    </a:p>
                  </a:txBody>
                  <a:tcPr marL="89614" marR="89614" marT="44807" marB="44807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373393">
                <a:tc>
                  <a:txBody>
                    <a:bodyPr/>
                    <a:lstStyle/>
                    <a:p>
                      <a:pPr algn="ctr"/>
                      <a:r>
                        <a:rPr lang="en-US" sz="1400" b="1" i="1" dirty="0" smtClean="0">
                          <a:solidFill>
                            <a:schemeClr val="tx1"/>
                          </a:solidFill>
                        </a:rPr>
                        <a:t>Population Health Improvement </a:t>
                      </a:r>
                    </a:p>
                  </a:txBody>
                  <a:tcPr marL="89614" marR="89614" marT="44807" marB="44807"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1" dirty="0" smtClean="0">
                          <a:solidFill>
                            <a:schemeClr val="tx1"/>
                          </a:solidFill>
                        </a:rPr>
                        <a:t>Health Care Delivery System Transformation</a:t>
                      </a:r>
                    </a:p>
                  </a:txBody>
                  <a:tcPr marL="89614" marR="89614" marT="44807" marB="44807"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3490369">
                <a:tc>
                  <a:txBody>
                    <a:bodyPr/>
                    <a:lstStyle/>
                    <a:p>
                      <a:pPr marL="171450" indent="-171450"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Make New York State the healthiest state in the nation</a:t>
                      </a:r>
                    </a:p>
                    <a:p>
                      <a:pPr marL="171450" indent="-171450"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Increase access to care  for all</a:t>
                      </a:r>
                    </a:p>
                    <a:p>
                      <a:pPr marL="171450" indent="-171450"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Improve health status in Prevention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</a:rPr>
                        <a:t> Agenda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priority areas</a:t>
                      </a:r>
                    </a:p>
                    <a:p>
                      <a:pPr marL="171450" indent="-171450"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Reduce health disparities for racial, ethnic, disability, socioeconomic and other groups who experience them</a:t>
                      </a:r>
                    </a:p>
                    <a:p>
                      <a:pPr marL="171450" indent="-171450"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hieve or maintain top-quartile performance among states for adoption of best practices and outcomes in disease prevention and health improvement within five years;</a:t>
                      </a:r>
                    </a:p>
                    <a:p>
                      <a:pPr marL="171450" indent="-171450"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hieve high standards for quality and consumer experience; </a:t>
                      </a:r>
                    </a:p>
                  </a:txBody>
                  <a:tcPr marL="89614" marR="89614" marT="44807" marB="44807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sure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ll New Yorkers access to p</a:t>
                      </a:r>
                      <a:r>
                        <a:rPr lang="en-US" sz="140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imary care with a systematic focus on population health and integrated behavioral healthcare;</a:t>
                      </a:r>
                    </a:p>
                    <a:p>
                      <a:pPr marL="171450" indent="-171450"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volve</a:t>
                      </a:r>
                      <a:r>
                        <a:rPr lang="en-US" sz="1400" baseline="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ayment methodologies to promote </a:t>
                      </a:r>
                      <a:r>
                        <a:rPr lang="en-US" sz="140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alue-based financial arrangements that align and incent</a:t>
                      </a:r>
                      <a:r>
                        <a:rPr lang="en-US" sz="1400" baseline="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desired outcomes</a:t>
                      </a:r>
                      <a:endParaRPr lang="en-US" sz="1400" dirty="0" smtClean="0"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71450" indent="-171450"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sure</a:t>
                      </a:r>
                      <a:r>
                        <a:rPr lang="en-US" sz="1400" baseline="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</a:t>
                      </a:r>
                      <a:r>
                        <a:rPr lang="en-US" sz="140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sumer engagement in, and ability to make more informed choices about their care, supported by increased cost and quality transparency.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nerate savings by reducing unnecessary care, shifting care to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dirty="0" smtClean="0"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propriate settings, reducing avoidable hospital admissions and readmissions and curbing increases in unit prices for health care products and services that are not tied to quality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Promote a common</a:t>
                      </a:r>
                      <a:r>
                        <a:rPr lang="en-US" sz="1400" b="0" baseline="0" dirty="0" smtClean="0">
                          <a:solidFill>
                            <a:schemeClr val="tx1"/>
                          </a:solidFill>
                        </a:rPr>
                        <a:t> set of metrics to drive value (cost and quality)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Invest in health information technology </a:t>
                      </a:r>
                    </a:p>
                    <a:p>
                      <a:pPr marL="171450" indent="-171450">
                        <a:buClr>
                          <a:srgbClr val="C00000"/>
                        </a:buClr>
                        <a:buSzPct val="120000"/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</a:rPr>
                        <a:t>Evolve the health care workforce</a:t>
                      </a:r>
                    </a:p>
                  </a:txBody>
                  <a:tcPr marL="89614" marR="89614" marT="44807" marB="44807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70012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028261626"/>
              </p:ext>
            </p:extLst>
          </p:nvPr>
        </p:nvGraphicFramePr>
        <p:xfrm>
          <a:off x="12965" y="732643"/>
          <a:ext cx="8056615" cy="53912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734993" y="86312"/>
            <a:ext cx="62375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rgbClr val="920000"/>
                </a:solidFill>
              </a:rPr>
              <a:t>Health Initiatives in New York State </a:t>
            </a:r>
            <a:endParaRPr lang="en-US" sz="1800" b="1" dirty="0" smtClean="0">
              <a:solidFill>
                <a:srgbClr val="920000"/>
              </a:solidFill>
            </a:endParaRPr>
          </a:p>
          <a:p>
            <a:pPr algn="ctr"/>
            <a:r>
              <a:rPr lang="en-US" sz="1800" b="1" dirty="0" smtClean="0">
                <a:solidFill>
                  <a:srgbClr val="920000"/>
                </a:solidFill>
              </a:rPr>
              <a:t>to </a:t>
            </a:r>
            <a:r>
              <a:rPr lang="en-US" sz="1800" b="1" dirty="0">
                <a:solidFill>
                  <a:srgbClr val="920000"/>
                </a:solidFill>
              </a:rPr>
              <a:t>Achieve the Triple </a:t>
            </a:r>
            <a:r>
              <a:rPr lang="en-US" sz="1800" b="1" dirty="0" smtClean="0">
                <a:solidFill>
                  <a:srgbClr val="920000"/>
                </a:solidFill>
              </a:rPr>
              <a:t>Aim by Population</a:t>
            </a:r>
            <a:endParaRPr lang="en-US" sz="1800" b="1" dirty="0">
              <a:solidFill>
                <a:srgbClr val="920000"/>
              </a:solidFill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672108" y="815415"/>
            <a:ext cx="3739872" cy="1070535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en-US" sz="1568" b="1" dirty="0">
                <a:solidFill>
                  <a:schemeClr val="tx1"/>
                </a:solidFill>
              </a:rPr>
              <a:t>State Health Innovation Plan</a:t>
            </a:r>
          </a:p>
          <a:p>
            <a:pPr lvl="0" algn="ctr"/>
            <a:r>
              <a:rPr lang="en-US" sz="1568" b="1" dirty="0">
                <a:solidFill>
                  <a:schemeClr val="tx1"/>
                </a:solidFill>
              </a:rPr>
              <a:t>(SHIP)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5740361" y="2790732"/>
            <a:ext cx="2016323" cy="638268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68" b="1" dirty="0"/>
              <a:t>NYS Employees:  1.2M</a:t>
            </a:r>
            <a:endParaRPr lang="en-US" sz="1568" dirty="0"/>
          </a:p>
        </p:txBody>
      </p:sp>
      <p:sp>
        <p:nvSpPr>
          <p:cNvPr id="8" name="Rounded Rectangle 7"/>
          <p:cNvSpPr/>
          <p:nvPr/>
        </p:nvSpPr>
        <p:spPr>
          <a:xfrm>
            <a:off x="2530614" y="4698854"/>
            <a:ext cx="2795766" cy="50939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568" b="1" dirty="0">
                <a:solidFill>
                  <a:schemeClr val="tx1"/>
                </a:solidFill>
              </a:rPr>
              <a:t>Medicare:  </a:t>
            </a:r>
            <a:r>
              <a:rPr lang="en-US" sz="1568" b="1" dirty="0" smtClean="0">
                <a:solidFill>
                  <a:schemeClr val="tx1"/>
                </a:solidFill>
              </a:rPr>
              <a:t>2.92M </a:t>
            </a:r>
            <a:r>
              <a:rPr lang="en-US" sz="1568" b="1" dirty="0">
                <a:solidFill>
                  <a:schemeClr val="tx1"/>
                </a:solidFill>
              </a:rPr>
              <a:t>(15%)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4849549" y="843074"/>
            <a:ext cx="2351352" cy="1042876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68" b="1" dirty="0" smtClean="0"/>
              <a:t>Delivery System Reform Incentive Program (DSRIP)</a:t>
            </a:r>
            <a:endParaRPr lang="en-US" sz="1568" b="1" dirty="0"/>
          </a:p>
        </p:txBody>
      </p:sp>
      <p:sp>
        <p:nvSpPr>
          <p:cNvPr id="7" name="Rounded Rectangle 6"/>
          <p:cNvSpPr/>
          <p:nvPr/>
        </p:nvSpPr>
        <p:spPr>
          <a:xfrm>
            <a:off x="2523080" y="3943350"/>
            <a:ext cx="2803300" cy="63199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/>
              <a:t>Medicaid and other Public:  4.29M </a:t>
            </a:r>
            <a:r>
              <a:rPr lang="en-US" b="1" dirty="0"/>
              <a:t>(</a:t>
            </a:r>
            <a:r>
              <a:rPr lang="en-US" b="1" dirty="0" smtClean="0"/>
              <a:t>22%) </a:t>
            </a:r>
            <a:endParaRPr lang="en-US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5959065" y="4698854"/>
            <a:ext cx="1717609" cy="746786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68" b="1" dirty="0"/>
              <a:t>Uninsured:  </a:t>
            </a:r>
            <a:r>
              <a:rPr lang="en-US" sz="1568" b="1" dirty="0" smtClean="0"/>
              <a:t>1.75M (9</a:t>
            </a:r>
            <a:r>
              <a:rPr lang="en-US" sz="1568" b="1" dirty="0"/>
              <a:t>%)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1045501" y="6347883"/>
            <a:ext cx="5824934" cy="29871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4" tIns="44807" rIns="89614" bIns="4480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68" dirty="0"/>
              <a:t>**http://kff.org/other/state-indicator/total-population/#</a:t>
            </a:r>
          </a:p>
        </p:txBody>
      </p:sp>
    </p:spTree>
    <p:extLst>
      <p:ext uri="{BB962C8B-B14F-4D97-AF65-F5344CB8AC3E}">
        <p14:creationId xmlns:p14="http://schemas.microsoft.com/office/powerpoint/2010/main" val="4005127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2" y="209432"/>
            <a:ext cx="8618537" cy="369332"/>
          </a:xfrm>
        </p:spPr>
        <p:txBody>
          <a:bodyPr/>
          <a:lstStyle/>
          <a:p>
            <a:r>
              <a:rPr lang="en-US" sz="2400" dirty="0" smtClean="0"/>
              <a:t>SHIP/SIM the Prevention Agenda and PHIPS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119063" y="817017"/>
            <a:ext cx="8618537" cy="58323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>
              <a:spcBef>
                <a:spcPts val="600"/>
              </a:spcBef>
              <a:spcAft>
                <a:spcPts val="0"/>
              </a:spcAft>
            </a:pPr>
            <a:r>
              <a:rPr lang="en-US" sz="1800" i="1" u="sng" dirty="0" smtClean="0">
                <a:solidFill>
                  <a:schemeClr val="tx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xamples of Key Points of Intersection and Support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u="sng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ccess to Care Without Disparity</a:t>
            </a:r>
            <a:r>
              <a:rPr lang="en-US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  </a:t>
            </a:r>
          </a:p>
          <a:p>
            <a:pPr marL="800100" lvl="1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ovide health disparities data to community partners to promote evaluation and best practices</a:t>
            </a:r>
          </a:p>
          <a:p>
            <a:pPr marL="800100" lvl="1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ovide training to reduce health disparities</a:t>
            </a:r>
          </a:p>
          <a:p>
            <a:pPr marL="800100" lvl="1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endParaRPr lang="en-US" sz="1400" dirty="0" smtClean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u="sng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tegrated Care:</a:t>
            </a:r>
            <a:r>
              <a:rPr lang="en-US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 Research regional interests and concerns, gather data and develop strategies to promote and support APC adoption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endParaRPr lang="en-US" sz="1400" dirty="0" smtClean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u="sng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orkforce:</a:t>
            </a:r>
            <a:r>
              <a:rPr lang="en-US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 Provide data and analytics to inform a regional workforce strategy to advance integrated care delivery and APC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endParaRPr lang="en-US" sz="1400" dirty="0" smtClean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u="sng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Health Information Technology</a:t>
            </a:r>
            <a:r>
              <a:rPr lang="en-US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:  Facilitate and support training and assistance for practices including health information technology integration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endParaRPr lang="en-US" sz="14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u="sng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opulation Health:  </a:t>
            </a:r>
          </a:p>
          <a:p>
            <a:pPr marL="800100" lvl="1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llect, analyze and utilize data to identify regional needs, measure health system performance, support innovative strategies and monitor community health status;</a:t>
            </a:r>
          </a:p>
          <a:p>
            <a:pPr marL="800100" lvl="1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nduct regional consumer assessment of care delivery (primary care and behavioral health) and develop recommendations as necessary</a:t>
            </a:r>
          </a:p>
          <a:p>
            <a:pPr marL="800100" lvl="1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trengthen clinical-community linkages to promote key prevention agenda priorities.</a:t>
            </a:r>
          </a:p>
          <a:p>
            <a:pPr marL="342900" marR="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endParaRPr lang="en-US" sz="14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49753" y="6272873"/>
            <a:ext cx="685851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/>
              <a:t>) 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911413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3038" y="1164893"/>
            <a:ext cx="8788400" cy="332214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en-US" sz="2000" b="1" dirty="0" smtClean="0"/>
              <a:t>SHIP and SIM Materials including SIM application, updates, and more:</a:t>
            </a:r>
          </a:p>
          <a:p>
            <a:r>
              <a:rPr lang="en-US" sz="1800" dirty="0" smtClean="0">
                <a:hlinkClick r:id="rId3"/>
              </a:rPr>
              <a:t>https</a:t>
            </a:r>
            <a:r>
              <a:rPr lang="en-US" sz="1800" dirty="0">
                <a:hlinkClick r:id="rId3"/>
              </a:rPr>
              <a:t>://www.health.ny.gov/technology/innovation_plan_initiative</a:t>
            </a:r>
            <a:r>
              <a:rPr lang="en-US" sz="1800" dirty="0" smtClean="0">
                <a:hlinkClick r:id="rId3"/>
              </a:rPr>
              <a:t>/</a:t>
            </a:r>
            <a:endParaRPr lang="en-US" sz="1800" dirty="0">
              <a:solidFill>
                <a:schemeClr val="tx2"/>
              </a:solidFill>
            </a:endParaRPr>
          </a:p>
          <a:p>
            <a:endParaRPr lang="en-US" sz="2000" b="1" dirty="0" smtClean="0"/>
          </a:p>
          <a:p>
            <a:endParaRPr lang="en-US" sz="2000" dirty="0" smtClean="0">
              <a:solidFill>
                <a:schemeClr val="tx2"/>
              </a:solidFill>
            </a:endParaRPr>
          </a:p>
          <a:p>
            <a:r>
              <a:rPr lang="en-US" sz="2000" b="1" dirty="0" smtClean="0"/>
              <a:t>CMMI’s State Innovation Models Program:</a:t>
            </a:r>
          </a:p>
          <a:p>
            <a:r>
              <a:rPr lang="en-US" sz="1800" dirty="0">
                <a:solidFill>
                  <a:schemeClr val="tx2"/>
                </a:solidFill>
                <a:hlinkClick r:id="rId4"/>
              </a:rPr>
              <a:t>http://innovation.cms.gov/initiatives/state-innovations</a:t>
            </a:r>
            <a:r>
              <a:rPr lang="en-US" sz="1800" dirty="0" smtClean="0">
                <a:solidFill>
                  <a:schemeClr val="tx2"/>
                </a:solidFill>
                <a:hlinkClick r:id="rId4"/>
              </a:rPr>
              <a:t>/</a:t>
            </a:r>
            <a:endParaRPr lang="en-US" sz="1800" dirty="0" smtClean="0">
              <a:solidFill>
                <a:schemeClr val="tx2"/>
              </a:solidFill>
            </a:endParaRPr>
          </a:p>
          <a:p>
            <a:endParaRPr lang="en-US" sz="2000" dirty="0">
              <a:solidFill>
                <a:schemeClr val="tx2"/>
              </a:solidFill>
            </a:endParaRPr>
          </a:p>
          <a:p>
            <a:endParaRPr lang="en-US" sz="2000" dirty="0" smtClean="0">
              <a:solidFill>
                <a:schemeClr val="tx2"/>
              </a:solidFill>
            </a:endParaRPr>
          </a:p>
          <a:p>
            <a:r>
              <a:rPr lang="en-US" sz="2000" b="1" dirty="0"/>
              <a:t>Contact us:  </a:t>
            </a:r>
            <a:endParaRPr lang="en-US" sz="2000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2"/>
                </a:solidFill>
              </a:rPr>
              <a:t>The </a:t>
            </a:r>
            <a:r>
              <a:rPr lang="en-US" sz="1800" dirty="0">
                <a:solidFill>
                  <a:schemeClr val="tx2"/>
                </a:solidFill>
              </a:rPr>
              <a:t>SHIP </a:t>
            </a:r>
            <a:r>
              <a:rPr lang="en-US" sz="1800" dirty="0" smtClean="0">
                <a:solidFill>
                  <a:schemeClr val="tx2"/>
                </a:solidFill>
              </a:rPr>
              <a:t>Team – </a:t>
            </a:r>
            <a:r>
              <a:rPr lang="en-US" sz="1800" dirty="0" smtClean="0">
                <a:solidFill>
                  <a:schemeClr val="tx2"/>
                </a:solidFill>
                <a:hlinkClick r:id="rId5"/>
              </a:rPr>
              <a:t>sim@health.ny.gov</a:t>
            </a:r>
            <a:r>
              <a:rPr lang="en-US" sz="1800" dirty="0" smtClean="0">
                <a:solidFill>
                  <a:schemeClr val="tx2"/>
                </a:solidFill>
              </a:rPr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Register for our newsletter by sending an email</a:t>
            </a:r>
            <a:endParaRPr lang="en-US" sz="1800" dirty="0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4266" y="171983"/>
            <a:ext cx="8065294" cy="521374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en-US" sz="2800" b="1" dirty="0" smtClean="0">
                <a:solidFill>
                  <a:schemeClr val="tx2"/>
                </a:solidFill>
              </a:rPr>
              <a:t>SHIP &amp; SIM Resources</a:t>
            </a:r>
            <a:endParaRPr lang="en-US" sz="2800" b="1" dirty="0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09180" y="2069471"/>
            <a:ext cx="2589608" cy="3662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218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149" y="2247675"/>
            <a:ext cx="8618537" cy="430887"/>
          </a:xfrm>
        </p:spPr>
        <p:txBody>
          <a:bodyPr/>
          <a:lstStyle/>
          <a:p>
            <a:pPr algn="ctr"/>
            <a:r>
              <a:rPr lang="en-US" sz="2800" dirty="0" smtClean="0">
                <a:solidFill>
                  <a:schemeClr val="bg1">
                    <a:lumMod val="50000"/>
                  </a:schemeClr>
                </a:solidFill>
              </a:rPr>
              <a:t>What is the SHIP?</a:t>
            </a:r>
            <a:endParaRPr 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206149" y="2917429"/>
            <a:ext cx="861853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b="0" kern="0" dirty="0" smtClean="0"/>
              <a:t>STATE HEALTH INNOVATION PLAN</a:t>
            </a:r>
            <a:endParaRPr lang="en-US" sz="2800" b="0" kern="0" dirty="0"/>
          </a:p>
        </p:txBody>
      </p:sp>
    </p:spTree>
    <p:extLst>
      <p:ext uri="{BB962C8B-B14F-4D97-AF65-F5344CB8AC3E}">
        <p14:creationId xmlns:p14="http://schemas.microsoft.com/office/powerpoint/2010/main" val="4161292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20378" y="840333"/>
          <a:ext cx="119055" cy="1190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0378" y="840333"/>
                        <a:ext cx="119055" cy="1190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/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81" b="6081"/>
          <a:stretch/>
        </p:blipFill>
        <p:spPr>
          <a:xfrm>
            <a:off x="0" y="0"/>
            <a:ext cx="8961438" cy="6246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997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2" y="209432"/>
            <a:ext cx="8618537" cy="369332"/>
          </a:xfrm>
        </p:spPr>
        <p:txBody>
          <a:bodyPr/>
          <a:lstStyle/>
          <a:p>
            <a:r>
              <a:rPr lang="en-US" sz="2400" dirty="0" smtClean="0"/>
              <a:t>SHIP Objectives and Goals</a:t>
            </a:r>
            <a:endParaRPr lang="en-US" sz="2400" dirty="0"/>
          </a:p>
        </p:txBody>
      </p:sp>
      <p:sp>
        <p:nvSpPr>
          <p:cNvPr id="3" name="Rectangle 2"/>
          <p:cNvSpPr/>
          <p:nvPr/>
        </p:nvSpPr>
        <p:spPr>
          <a:xfrm>
            <a:off x="119063" y="919887"/>
            <a:ext cx="8618537" cy="4139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>
              <a:spcBef>
                <a:spcPts val="600"/>
              </a:spcBef>
              <a:spcAft>
                <a:spcPts val="0"/>
              </a:spcAft>
            </a:pPr>
            <a:r>
              <a:rPr lang="en-US" sz="1800" i="1" u="sng" dirty="0" smtClean="0">
                <a:solidFill>
                  <a:schemeClr val="tx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hree Core Objectives within 5 Years: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80% 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f the state’s population will receive primary care within an APC setting, with a systematic focus on population health and integrated behavioral healthcare;</a:t>
            </a: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80% 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f the care will be paid for under a value-based financial arrangement; </a:t>
            </a: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nd,</a:t>
            </a:r>
            <a:endParaRPr lang="en-US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onsumers 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ill be more engaged in, and able to make more informed choices about their own care, supported by increased cost and quality </a:t>
            </a: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transparency.</a:t>
            </a:r>
          </a:p>
          <a:p>
            <a:pPr marL="342900" marR="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endParaRPr lang="en-US" sz="11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>
              <a:spcBef>
                <a:spcPts val="600"/>
              </a:spcBef>
              <a:spcAft>
                <a:spcPts val="0"/>
              </a:spcAft>
            </a:pPr>
            <a:r>
              <a:rPr lang="en-US" sz="1800" i="1" u="sng" dirty="0" smtClean="0">
                <a:solidFill>
                  <a:schemeClr val="tx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We </a:t>
            </a:r>
            <a:r>
              <a:rPr lang="en-US" sz="1800" i="1" u="sng" dirty="0">
                <a:solidFill>
                  <a:schemeClr val="tx2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spire to:</a:t>
            </a:r>
          </a:p>
          <a:p>
            <a:pPr marL="342900" marR="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chieve 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r maintain top-quartile performance among states for adoption </a:t>
            </a: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f best 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practices and outcomes in disease prevention and health </a:t>
            </a: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mprovement within 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five years;</a:t>
            </a:r>
          </a:p>
          <a:p>
            <a:pPr marL="342900" marR="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hieve 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high standards for quality and consumer </a:t>
            </a: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xperience; </a:t>
            </a:r>
            <a:endParaRPr lang="en-US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indent="-342900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Generate savings 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by reducing </a:t>
            </a: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nnecessary care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, shifting care to appropriate settings, </a:t>
            </a: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reducing avoidable hospital admissions and readmissions and 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urbing increases in </a:t>
            </a: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nit prices 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for health care products and services that are not tied to </a:t>
            </a:r>
            <a:r>
              <a:rPr lang="en-US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quality, within </a:t>
            </a:r>
            <a:r>
              <a:rPr lang="en-US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five years. </a:t>
            </a:r>
            <a:endParaRPr lang="en-US" dirty="0" smtClean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-49753" y="6272873"/>
            <a:ext cx="6858516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i="1" dirty="0" smtClean="0"/>
              <a:t>For more information, visit the below webpage to view the SHIP: </a:t>
            </a:r>
            <a:r>
              <a:rPr lang="en-US" sz="1100" dirty="0" smtClean="0"/>
              <a:t>(</a:t>
            </a:r>
            <a:r>
              <a:rPr lang="en-US" sz="1100" dirty="0">
                <a:hlinkClick r:id="rId2"/>
              </a:rPr>
              <a:t>https://</a:t>
            </a:r>
            <a:r>
              <a:rPr lang="en-US" sz="1100" dirty="0" smtClean="0">
                <a:hlinkClick r:id="rId2"/>
              </a:rPr>
              <a:t>www.health.ny.gov/technology/innovation_plan_initiative/docs/ny_state_health_innovation_plan.pdf</a:t>
            </a:r>
            <a:r>
              <a:rPr lang="en-US" sz="1100" dirty="0"/>
              <a:t>)</a:t>
            </a:r>
            <a:r>
              <a:rPr lang="en-US" sz="1100" dirty="0" smtClean="0"/>
              <a:t> 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92818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149" y="2247675"/>
            <a:ext cx="8618537" cy="430887"/>
          </a:xfrm>
        </p:spPr>
        <p:txBody>
          <a:bodyPr/>
          <a:lstStyle/>
          <a:p>
            <a:pPr algn="ctr"/>
            <a:r>
              <a:rPr lang="en-US" sz="2800" dirty="0" smtClean="0">
                <a:solidFill>
                  <a:schemeClr val="bg1">
                    <a:lumMod val="50000"/>
                  </a:schemeClr>
                </a:solidFill>
              </a:rPr>
              <a:t>What is SIM?</a:t>
            </a:r>
            <a:endParaRPr 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206149" y="2917429"/>
            <a:ext cx="861853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b="0" kern="0" dirty="0" smtClean="0"/>
              <a:t>STATE INNOVATION MODELS TESTING GRANT</a:t>
            </a:r>
            <a:endParaRPr lang="en-US" sz="2800" b="0" kern="0" dirty="0"/>
          </a:p>
        </p:txBody>
      </p:sp>
    </p:spTree>
    <p:extLst>
      <p:ext uri="{BB962C8B-B14F-4D97-AF65-F5344CB8AC3E}">
        <p14:creationId xmlns:p14="http://schemas.microsoft.com/office/powerpoint/2010/main" val="4259368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47768"/>
            <a:ext cx="8065294" cy="459819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en-US" sz="2400" b="1" dirty="0" smtClean="0">
                <a:solidFill>
                  <a:srgbClr val="D2533C"/>
                </a:solidFill>
              </a:rPr>
              <a:t>SIM Grant Application</a:t>
            </a:r>
            <a:endParaRPr lang="en-US" sz="2400" b="1" dirty="0">
              <a:solidFill>
                <a:srgbClr val="D2533C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6943725" y="6313488"/>
            <a:ext cx="2017713" cy="357187"/>
          </a:xfrm>
          <a:prstGeom prst="rect">
            <a:avLst/>
          </a:prstGeom>
        </p:spPr>
        <p:txBody>
          <a:bodyPr/>
          <a:lstStyle/>
          <a:p>
            <a:fld id="{B5CB55A6-F78F-48EB-BB67-C25CEB7789C0}" type="slidenum">
              <a:rPr lang="en-US" smtClean="0">
                <a:solidFill>
                  <a:srgbClr val="292934"/>
                </a:solidFill>
              </a:rPr>
              <a:pPr/>
              <a:t>6</a:t>
            </a:fld>
            <a:endParaRPr lang="en-US" dirty="0">
              <a:solidFill>
                <a:srgbClr val="292934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96949" y="849201"/>
            <a:ext cx="8314006" cy="5745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dirty="0"/>
              <a:t>Over the next 48 months, </a:t>
            </a:r>
            <a:r>
              <a:rPr lang="en-US" dirty="0" smtClean="0"/>
              <a:t>NYS will </a:t>
            </a:r>
            <a:r>
              <a:rPr lang="en-US" dirty="0"/>
              <a:t>receive ~</a:t>
            </a:r>
            <a:r>
              <a:rPr lang="en-US" dirty="0" smtClean="0"/>
              <a:t>$99.9 </a:t>
            </a:r>
            <a:r>
              <a:rPr lang="en-US" dirty="0"/>
              <a:t>million to implement and test </a:t>
            </a:r>
            <a:r>
              <a:rPr lang="en-US" dirty="0" smtClean="0"/>
              <a:t>the SHIP.</a:t>
            </a:r>
            <a:endParaRPr lang="en-US" dirty="0"/>
          </a:p>
          <a:p>
            <a:pPr lvl="0"/>
            <a:r>
              <a:rPr lang="en-US" dirty="0"/>
              <a:t/>
            </a:r>
            <a:br>
              <a:rPr lang="en-US" dirty="0"/>
            </a:br>
            <a:r>
              <a:rPr lang="en-US" u="sng" dirty="0"/>
              <a:t>New York will </a:t>
            </a:r>
            <a:r>
              <a:rPr lang="en-US" u="sng" dirty="0" smtClean="0"/>
              <a:t>promote </a:t>
            </a:r>
            <a:r>
              <a:rPr lang="en-US" u="sng" dirty="0"/>
              <a:t>a tiered </a:t>
            </a:r>
            <a:r>
              <a:rPr lang="en-US" b="1" i="1" u="sng" dirty="0"/>
              <a:t>Advanced Primary Care</a:t>
            </a:r>
            <a:r>
              <a:rPr lang="en-US" u="sng" dirty="0"/>
              <a:t> (APC) </a:t>
            </a:r>
            <a:r>
              <a:rPr lang="en-US" u="sng" dirty="0" smtClean="0"/>
              <a:t>model. </a:t>
            </a:r>
            <a:r>
              <a:rPr lang="en-US" u="sng" dirty="0"/>
              <a:t>This model </a:t>
            </a:r>
            <a:r>
              <a:rPr lang="en-US" u="sng" dirty="0" smtClean="0"/>
              <a:t>includes </a:t>
            </a:r>
            <a:r>
              <a:rPr lang="en-US" u="sng" dirty="0"/>
              <a:t>behavioral and population </a:t>
            </a:r>
            <a:r>
              <a:rPr lang="en-US" u="sng" dirty="0" smtClean="0"/>
              <a:t>health integration, coupled with an appropriately trained workforce </a:t>
            </a:r>
            <a:r>
              <a:rPr lang="en-US" u="sng" dirty="0"/>
              <a:t>and engaged consumers, with supportive payment and common metrics.</a:t>
            </a:r>
            <a:r>
              <a:rPr lang="en-US" dirty="0"/>
              <a:t> The state will: </a:t>
            </a:r>
            <a:endParaRPr lang="en-US" dirty="0" smtClean="0"/>
          </a:p>
          <a:p>
            <a:pPr lvl="0"/>
            <a:endParaRPr lang="en-US" dirty="0"/>
          </a:p>
          <a:p>
            <a:pPr marL="342900" indent="-342900">
              <a:buClr>
                <a:schemeClr val="tx2"/>
              </a:buClr>
              <a:buFont typeface="+mj-lt"/>
              <a:buAutoNum type="arabicParenR"/>
            </a:pPr>
            <a:r>
              <a:rPr lang="en-US" dirty="0" smtClean="0"/>
              <a:t>institute </a:t>
            </a:r>
            <a:r>
              <a:rPr lang="en-US" dirty="0"/>
              <a:t>a state-wide program of regionally-based primary care practice transformation </a:t>
            </a:r>
            <a:r>
              <a:rPr lang="en-US" dirty="0" smtClean="0"/>
              <a:t>activities to </a:t>
            </a:r>
            <a:r>
              <a:rPr lang="en-US" dirty="0"/>
              <a:t>help practices across New York </a:t>
            </a:r>
            <a:r>
              <a:rPr lang="en-US" dirty="0" smtClean="0"/>
              <a:t>deliver ‘advanced primary care’; </a:t>
            </a:r>
            <a:endParaRPr lang="en-US" dirty="0"/>
          </a:p>
          <a:p>
            <a:pPr marL="342900" indent="-342900">
              <a:buClr>
                <a:schemeClr val="tx2"/>
              </a:buClr>
              <a:buFont typeface="+mj-lt"/>
              <a:buAutoNum type="arabicParenR"/>
            </a:pPr>
            <a:r>
              <a:rPr lang="en-US" dirty="0" smtClean="0"/>
              <a:t>expand </a:t>
            </a:r>
            <a:r>
              <a:rPr lang="en-US" dirty="0"/>
              <a:t>the use of value-based payments so that 80% of New Yorkers are receiving value-based care by 2020; </a:t>
            </a:r>
          </a:p>
          <a:p>
            <a:pPr marL="342900" indent="-342900">
              <a:buClr>
                <a:schemeClr val="tx2"/>
              </a:buClr>
              <a:buFont typeface="+mj-lt"/>
              <a:buAutoNum type="arabicParenR"/>
            </a:pPr>
            <a:r>
              <a:rPr lang="en-US" dirty="0" smtClean="0"/>
              <a:t>support </a:t>
            </a:r>
            <a:r>
              <a:rPr lang="en-US" dirty="0"/>
              <a:t>performance improvement and capacity expansion in primary care by expanding New York’s  primary care workforce through innovations in professional education and training; </a:t>
            </a:r>
          </a:p>
          <a:p>
            <a:pPr marL="342900" indent="-342900">
              <a:buClr>
                <a:schemeClr val="tx2"/>
              </a:buClr>
              <a:buFont typeface="+mj-lt"/>
              <a:buAutoNum type="arabicParenR"/>
            </a:pPr>
            <a:r>
              <a:rPr lang="en-US" sz="1400" b="1" dirty="0" smtClean="0"/>
              <a:t>integrate </a:t>
            </a:r>
            <a:r>
              <a:rPr lang="en-US" sz="1400" b="1" dirty="0"/>
              <a:t>APC with population health through Public Health Consultants funded to work with regional </a:t>
            </a:r>
            <a:r>
              <a:rPr lang="en-US" sz="1400" b="1" dirty="0" smtClean="0"/>
              <a:t>practice transformation and Population </a:t>
            </a:r>
            <a:r>
              <a:rPr lang="en-US" sz="1400" b="1" dirty="0"/>
              <a:t>Health Improvement Program </a:t>
            </a:r>
            <a:r>
              <a:rPr lang="en-US" sz="1400" b="1" dirty="0" smtClean="0"/>
              <a:t>(PHIP) contractors</a:t>
            </a:r>
            <a:r>
              <a:rPr lang="en-US" dirty="0"/>
              <a:t>;  </a:t>
            </a:r>
          </a:p>
          <a:p>
            <a:pPr marL="342900" indent="-342900">
              <a:buClr>
                <a:schemeClr val="tx2"/>
              </a:buClr>
              <a:buFont typeface="+mj-lt"/>
              <a:buAutoNum type="arabicParenR"/>
            </a:pPr>
            <a:r>
              <a:rPr lang="en-US" dirty="0" smtClean="0"/>
              <a:t>develop </a:t>
            </a:r>
            <a:r>
              <a:rPr lang="en-US" dirty="0"/>
              <a:t>a common scorecard, shared quality metrics and enhanced  analytics to assure that delivery system and payment models support three-part aim objectives; and </a:t>
            </a:r>
          </a:p>
          <a:p>
            <a:pPr marL="342900" indent="-342900">
              <a:spcAft>
                <a:spcPts val="400"/>
              </a:spcAft>
              <a:buClr>
                <a:schemeClr val="tx2"/>
              </a:buClr>
              <a:buFont typeface="+mj-lt"/>
              <a:buAutoNum type="arabicParenR"/>
            </a:pPr>
            <a:r>
              <a:rPr lang="en-US" dirty="0" smtClean="0"/>
              <a:t>provide </a:t>
            </a:r>
            <a:r>
              <a:rPr lang="en-US" dirty="0"/>
              <a:t>state-funded health information technology, including </a:t>
            </a:r>
            <a:r>
              <a:rPr lang="en-US" dirty="0" smtClean="0"/>
              <a:t>enhanced </a:t>
            </a:r>
            <a:r>
              <a:rPr lang="en-US" dirty="0"/>
              <a:t>capacities to exchange clinical data and an all-payer databas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8527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843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9844" name="Title 1"/>
          <p:cNvSpPr>
            <a:spLocks noGrp="1"/>
          </p:cNvSpPr>
          <p:nvPr>
            <p:ph type="title"/>
          </p:nvPr>
        </p:nvSpPr>
        <p:spPr>
          <a:xfrm>
            <a:off x="79375" y="111190"/>
            <a:ext cx="8961438" cy="307777"/>
          </a:xfrm>
        </p:spPr>
        <p:txBody>
          <a:bodyPr/>
          <a:lstStyle/>
          <a:p>
            <a:r>
              <a:rPr lang="en-US" altLang="en-US" sz="2000" dirty="0" smtClean="0"/>
              <a:t>SHIP Advanced Primary Care (APC) Model</a:t>
            </a:r>
          </a:p>
        </p:txBody>
      </p:sp>
      <p:sp>
        <p:nvSpPr>
          <p:cNvPr id="24" name="AutoShape 17"/>
          <p:cNvSpPr>
            <a:spLocks noChangeArrowheads="1"/>
          </p:cNvSpPr>
          <p:nvPr/>
        </p:nvSpPr>
        <p:spPr bwMode="gray">
          <a:xfrm rot="19252681">
            <a:off x="790197" y="2298169"/>
            <a:ext cx="5129000" cy="187435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/>
        </p:spPr>
        <p:txBody>
          <a:bodyPr wrap="none" lIns="27423" tIns="0" rIns="0" bIns="27423">
            <a:spAutoFit/>
          </a:bodyPr>
          <a:lstStyle/>
          <a:p>
            <a:pPr algn="r" defTabSz="895065">
              <a:buClr>
                <a:srgbClr val="000000"/>
              </a:buClr>
              <a:defRPr/>
            </a:pPr>
            <a:r>
              <a:rPr lang="en-US" altLang="zh-CN" sz="12000" dirty="0">
                <a:solidFill>
                  <a:srgbClr val="808080">
                    <a:alpha val="11000"/>
                  </a:srgbClr>
                </a:solidFill>
                <a:latin typeface="Arial"/>
                <a:ea typeface="SimSun" charset="0"/>
                <a:cs typeface="SimSun" charset="0"/>
              </a:rPr>
              <a:t>DRAFT</a:t>
            </a:r>
          </a:p>
        </p:txBody>
      </p:sp>
      <p:sp>
        <p:nvSpPr>
          <p:cNvPr id="16" name="Freeform 22"/>
          <p:cNvSpPr>
            <a:spLocks/>
          </p:cNvSpPr>
          <p:nvPr/>
        </p:nvSpPr>
        <p:spPr bwMode="gray">
          <a:xfrm>
            <a:off x="3090865" y="1650747"/>
            <a:ext cx="293687" cy="787400"/>
          </a:xfrm>
          <a:custGeom>
            <a:avLst/>
            <a:gdLst>
              <a:gd name="T0" fmla="*/ 298217 w 435"/>
              <a:gd name="T1" fmla="*/ 857033 h 222"/>
              <a:gd name="T2" fmla="*/ 298217 w 435"/>
              <a:gd name="T3" fmla="*/ 0 h 222"/>
              <a:gd name="T4" fmla="*/ 0 w 435"/>
              <a:gd name="T5" fmla="*/ 314116 h 222"/>
              <a:gd name="T6" fmla="*/ 0 w 435"/>
              <a:gd name="T7" fmla="*/ 857033 h 222"/>
              <a:gd name="T8" fmla="*/ 0 60000 65536"/>
              <a:gd name="T9" fmla="*/ 0 60000 65536"/>
              <a:gd name="T10" fmla="*/ 0 60000 65536"/>
              <a:gd name="T11" fmla="*/ 0 60000 65536"/>
              <a:gd name="T12" fmla="*/ 0 w 435"/>
              <a:gd name="T13" fmla="*/ 0 h 222"/>
              <a:gd name="T14" fmla="*/ 435 w 435"/>
              <a:gd name="T15" fmla="*/ 222 h 2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5" h="222">
                <a:moveTo>
                  <a:pt x="434" y="221"/>
                </a:moveTo>
                <a:lnTo>
                  <a:pt x="434" y="0"/>
                </a:lnTo>
                <a:lnTo>
                  <a:pt x="0" y="81"/>
                </a:lnTo>
                <a:lnTo>
                  <a:pt x="0" y="221"/>
                </a:lnTo>
              </a:path>
            </a:pathLst>
          </a:custGeom>
          <a:gradFill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0" scaled="1"/>
          </a:gradFill>
          <a:ln w="9525">
            <a:noFill/>
            <a:round/>
            <a:headEnd/>
            <a:tailEnd/>
          </a:ln>
        </p:spPr>
        <p:txBody>
          <a:bodyPr lIns="89611" tIns="44806" rIns="89611" bIns="44806"/>
          <a:lstStyle/>
          <a:p>
            <a:pPr>
              <a:defRPr/>
            </a:pPr>
            <a:endParaRPr lang="en-US" sz="1400" dirty="0">
              <a:latin typeface="+mn-lt"/>
              <a:ea typeface="+mn-ea"/>
            </a:endParaRPr>
          </a:p>
        </p:txBody>
      </p:sp>
      <p:sp>
        <p:nvSpPr>
          <p:cNvPr id="17" name="Freeform 23"/>
          <p:cNvSpPr>
            <a:spLocks/>
          </p:cNvSpPr>
          <p:nvPr/>
        </p:nvSpPr>
        <p:spPr bwMode="gray">
          <a:xfrm>
            <a:off x="5126802" y="845885"/>
            <a:ext cx="293688" cy="817562"/>
          </a:xfrm>
          <a:custGeom>
            <a:avLst/>
            <a:gdLst>
              <a:gd name="T0" fmla="*/ 298217 w 435"/>
              <a:gd name="T1" fmla="*/ 891832 h 222"/>
              <a:gd name="T2" fmla="*/ 298217 w 435"/>
              <a:gd name="T3" fmla="*/ 0 h 222"/>
              <a:gd name="T4" fmla="*/ 0 w 435"/>
              <a:gd name="T5" fmla="*/ 326870 h 222"/>
              <a:gd name="T6" fmla="*/ 0 w 435"/>
              <a:gd name="T7" fmla="*/ 891832 h 222"/>
              <a:gd name="T8" fmla="*/ 0 60000 65536"/>
              <a:gd name="T9" fmla="*/ 0 60000 65536"/>
              <a:gd name="T10" fmla="*/ 0 60000 65536"/>
              <a:gd name="T11" fmla="*/ 0 60000 65536"/>
              <a:gd name="T12" fmla="*/ 0 w 435"/>
              <a:gd name="T13" fmla="*/ 0 h 222"/>
              <a:gd name="T14" fmla="*/ 435 w 435"/>
              <a:gd name="T15" fmla="*/ 222 h 2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5" h="222">
                <a:moveTo>
                  <a:pt x="434" y="221"/>
                </a:moveTo>
                <a:lnTo>
                  <a:pt x="434" y="0"/>
                </a:lnTo>
                <a:lnTo>
                  <a:pt x="0" y="81"/>
                </a:lnTo>
                <a:lnTo>
                  <a:pt x="0" y="221"/>
                </a:lnTo>
              </a:path>
            </a:pathLst>
          </a:custGeom>
          <a:gradFill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0" scaled="1"/>
          </a:gradFill>
          <a:ln w="9525">
            <a:noFill/>
            <a:round/>
            <a:headEnd/>
            <a:tailEnd/>
          </a:ln>
        </p:spPr>
        <p:txBody>
          <a:bodyPr lIns="89611" tIns="44806" rIns="89611" bIns="44806"/>
          <a:lstStyle/>
          <a:p>
            <a:pPr>
              <a:defRPr/>
            </a:pPr>
            <a:endParaRPr lang="en-US" sz="1400" dirty="0">
              <a:latin typeface="+mn-lt"/>
              <a:ea typeface="+mn-ea"/>
            </a:endParaRPr>
          </a:p>
        </p:txBody>
      </p:sp>
      <p:sp>
        <p:nvSpPr>
          <p:cNvPr id="18" name="Freeform 24"/>
          <p:cNvSpPr>
            <a:spLocks/>
          </p:cNvSpPr>
          <p:nvPr/>
        </p:nvSpPr>
        <p:spPr bwMode="gray">
          <a:xfrm>
            <a:off x="1054927" y="2438147"/>
            <a:ext cx="293688" cy="779463"/>
          </a:xfrm>
          <a:custGeom>
            <a:avLst/>
            <a:gdLst>
              <a:gd name="T0" fmla="*/ 298217 w 435"/>
              <a:gd name="T1" fmla="*/ 848547 h 222"/>
              <a:gd name="T2" fmla="*/ 298217 w 435"/>
              <a:gd name="T3" fmla="*/ 0 h 222"/>
              <a:gd name="T4" fmla="*/ 0 w 435"/>
              <a:gd name="T5" fmla="*/ 311006 h 222"/>
              <a:gd name="T6" fmla="*/ 0 w 435"/>
              <a:gd name="T7" fmla="*/ 848547 h 222"/>
              <a:gd name="T8" fmla="*/ 0 60000 65536"/>
              <a:gd name="T9" fmla="*/ 0 60000 65536"/>
              <a:gd name="T10" fmla="*/ 0 60000 65536"/>
              <a:gd name="T11" fmla="*/ 0 60000 65536"/>
              <a:gd name="T12" fmla="*/ 0 w 435"/>
              <a:gd name="T13" fmla="*/ 0 h 222"/>
              <a:gd name="T14" fmla="*/ 435 w 435"/>
              <a:gd name="T15" fmla="*/ 222 h 22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5" h="222">
                <a:moveTo>
                  <a:pt x="434" y="221"/>
                </a:moveTo>
                <a:lnTo>
                  <a:pt x="434" y="0"/>
                </a:lnTo>
                <a:lnTo>
                  <a:pt x="0" y="81"/>
                </a:lnTo>
                <a:lnTo>
                  <a:pt x="0" y="221"/>
                </a:lnTo>
              </a:path>
            </a:pathLst>
          </a:custGeom>
          <a:gradFill rotWithShape="1">
            <a:gsLst>
              <a:gs pos="0">
                <a:schemeClr val="accent3"/>
              </a:gs>
              <a:gs pos="100000">
                <a:schemeClr val="accent1"/>
              </a:gs>
            </a:gsLst>
            <a:lin ang="0" scaled="1"/>
          </a:gradFill>
          <a:ln w="9525">
            <a:noFill/>
            <a:round/>
            <a:headEnd/>
            <a:tailEnd/>
          </a:ln>
        </p:spPr>
        <p:txBody>
          <a:bodyPr lIns="89611" tIns="44806" rIns="89611" bIns="44806"/>
          <a:lstStyle/>
          <a:p>
            <a:pPr>
              <a:defRPr/>
            </a:pPr>
            <a:endParaRPr lang="en-US" sz="1400" dirty="0">
              <a:latin typeface="+mn-lt"/>
              <a:ea typeface="+mn-ea"/>
            </a:endParaRPr>
          </a:p>
        </p:txBody>
      </p:sp>
      <p:sp>
        <p:nvSpPr>
          <p:cNvPr id="19" name="Rectangle 31"/>
          <p:cNvSpPr>
            <a:spLocks noChangeArrowheads="1"/>
          </p:cNvSpPr>
          <p:nvPr/>
        </p:nvSpPr>
        <p:spPr bwMode="gray">
          <a:xfrm>
            <a:off x="1442277" y="2177797"/>
            <a:ext cx="1866900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b="1" dirty="0">
                <a:latin typeface="+mn-lt"/>
                <a:ea typeface="+mn-ea"/>
              </a:rPr>
              <a:t>Pre-APC</a:t>
            </a:r>
          </a:p>
        </p:txBody>
      </p:sp>
      <p:sp>
        <p:nvSpPr>
          <p:cNvPr id="20" name="Rectangle 32"/>
          <p:cNvSpPr>
            <a:spLocks noChangeArrowheads="1"/>
          </p:cNvSpPr>
          <p:nvPr/>
        </p:nvSpPr>
        <p:spPr bwMode="gray">
          <a:xfrm>
            <a:off x="3464752" y="1407860"/>
            <a:ext cx="193198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b="1" dirty="0">
                <a:latin typeface="+mn-lt"/>
                <a:ea typeface="+mn-ea"/>
              </a:rPr>
              <a:t>APC</a:t>
            </a:r>
          </a:p>
        </p:txBody>
      </p:sp>
      <p:sp>
        <p:nvSpPr>
          <p:cNvPr id="21" name="Rectangle 33"/>
          <p:cNvSpPr>
            <a:spLocks noChangeArrowheads="1"/>
          </p:cNvSpPr>
          <p:nvPr/>
        </p:nvSpPr>
        <p:spPr bwMode="gray">
          <a:xfrm>
            <a:off x="5436427" y="593472"/>
            <a:ext cx="1874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400" b="1" dirty="0">
                <a:latin typeface="+mn-lt"/>
                <a:ea typeface="+mn-ea"/>
              </a:rPr>
              <a:t>Premium APC</a:t>
            </a:r>
          </a:p>
        </p:txBody>
      </p:sp>
      <p:sp>
        <p:nvSpPr>
          <p:cNvPr id="419852" name="Rectangle 6"/>
          <p:cNvSpPr txBox="1">
            <a:spLocks/>
          </p:cNvSpPr>
          <p:nvPr/>
        </p:nvSpPr>
        <p:spPr bwMode="auto">
          <a:xfrm>
            <a:off x="3464752" y="1674242"/>
            <a:ext cx="1931988" cy="2714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lvl="1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en-US" sz="1400" b="1" dirty="0" smtClean="0">
                <a:ea typeface="Arial Unicode MS" pitchFamily="34" charset="-128"/>
                <a:cs typeface="Arial Unicode MS" pitchFamily="34" charset="-128"/>
              </a:rPr>
              <a:t>Potential</a:t>
            </a: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en-US" sz="1400" b="1" dirty="0">
                <a:ea typeface="Arial Unicode MS" pitchFamily="34" charset="-128"/>
                <a:cs typeface="Arial Unicode MS" pitchFamily="34" charset="-128"/>
              </a:rPr>
              <a:t>final destination </a:t>
            </a:r>
            <a:r>
              <a:rPr lang="en-US" altLang="en-US" sz="1400" dirty="0">
                <a:ea typeface="Arial Unicode MS" pitchFamily="34" charset="-128"/>
                <a:cs typeface="Arial Unicode MS" pitchFamily="34" charset="-128"/>
              </a:rPr>
              <a:t>for some practices without infrastructure to reach Premium </a:t>
            </a: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APC</a:t>
            </a:r>
          </a:p>
          <a:p>
            <a:pPr lvl="1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Key infrastructure in place for management of complex populations</a:t>
            </a:r>
          </a:p>
          <a:p>
            <a:pPr lvl="1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Demonstrated higher level PCMH</a:t>
            </a:r>
            <a:r>
              <a:rPr lang="en-US" altLang="en-US" sz="1400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with results</a:t>
            </a:r>
          </a:p>
        </p:txBody>
      </p:sp>
      <p:sp>
        <p:nvSpPr>
          <p:cNvPr id="419853" name="Rectangle 24"/>
          <p:cNvSpPr txBox="1">
            <a:spLocks/>
          </p:cNvSpPr>
          <p:nvPr/>
        </p:nvSpPr>
        <p:spPr bwMode="auto">
          <a:xfrm>
            <a:off x="5487227" y="870967"/>
            <a:ext cx="1874838" cy="2563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lvl="1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en-US" sz="1400" dirty="0">
                <a:ea typeface="Arial Unicode MS" pitchFamily="34" charset="-128"/>
                <a:cs typeface="Arial Unicode MS" pitchFamily="34" charset="-128"/>
              </a:rPr>
              <a:t>Practices </a:t>
            </a: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manage </a:t>
            </a:r>
            <a:r>
              <a:rPr lang="en-US" altLang="en-US" sz="1400" dirty="0">
                <a:ea typeface="Arial Unicode MS" pitchFamily="34" charset="-128"/>
                <a:cs typeface="Arial Unicode MS" pitchFamily="34" charset="-128"/>
              </a:rPr>
              <a:t>population health, integrating behavioral health</a:t>
            </a:r>
          </a:p>
          <a:p>
            <a:pPr lvl="1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Medical </a:t>
            </a:r>
            <a:r>
              <a:rPr lang="en-US" altLang="en-US" sz="1400" dirty="0">
                <a:ea typeface="Arial Unicode MS" pitchFamily="34" charset="-128"/>
                <a:cs typeface="Arial Unicode MS" pitchFamily="34" charset="-128"/>
              </a:rPr>
              <a:t>neighborhood and community-facing care </a:t>
            </a: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coordination</a:t>
            </a:r>
          </a:p>
          <a:p>
            <a:pPr lvl="1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‘ACO-ish’</a:t>
            </a:r>
          </a:p>
          <a:p>
            <a:pPr lvl="1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Performance driven payments</a:t>
            </a:r>
            <a:endParaRPr lang="en-US" altLang="en-US" sz="140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19854" name="Rectangle 28"/>
          <p:cNvSpPr txBox="1">
            <a:spLocks/>
          </p:cNvSpPr>
          <p:nvPr/>
        </p:nvSpPr>
        <p:spPr bwMode="auto">
          <a:xfrm>
            <a:off x="1442277" y="2455292"/>
            <a:ext cx="1866900" cy="1852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lvl="1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Transitional</a:t>
            </a:r>
            <a:r>
              <a:rPr lang="en-US" altLang="en-US" sz="1400" dirty="0">
                <a:ea typeface="Arial Unicode MS" pitchFamily="34" charset="-128"/>
                <a:cs typeface="Arial Unicode MS" pitchFamily="34" charset="-128"/>
              </a:rPr>
              <a:t>, </a:t>
            </a:r>
            <a:r>
              <a:rPr lang="en-US" altLang="en-US" sz="1400" b="1" dirty="0">
                <a:ea typeface="Arial Unicode MS" pitchFamily="34" charset="-128"/>
                <a:cs typeface="Arial Unicode MS" pitchFamily="34" charset="-128"/>
              </a:rPr>
              <a:t>time-limited </a:t>
            </a: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status </a:t>
            </a:r>
            <a:r>
              <a:rPr lang="en-US" altLang="en-US" sz="1400" dirty="0">
                <a:ea typeface="Arial Unicode MS" pitchFamily="34" charset="-128"/>
                <a:cs typeface="Arial Unicode MS" pitchFamily="34" charset="-128"/>
              </a:rPr>
              <a:t>with obligation to reach </a:t>
            </a: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APC status</a:t>
            </a:r>
          </a:p>
          <a:p>
            <a:pPr lvl="1">
              <a:spcBef>
                <a:spcPct val="3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en-US" sz="1400" dirty="0" smtClean="0">
                <a:ea typeface="Arial Unicode MS" pitchFamily="34" charset="-128"/>
                <a:cs typeface="Arial Unicode MS" pitchFamily="34" charset="-128"/>
              </a:rPr>
              <a:t>Demonstrate capacity/willingness to ‘transform’</a:t>
            </a:r>
          </a:p>
          <a:p>
            <a:pPr marL="1587" lvl="1" indent="0">
              <a:spcBef>
                <a:spcPct val="30000"/>
              </a:spcBef>
              <a:buClr>
                <a:schemeClr val="tx2"/>
              </a:buClr>
              <a:buSzPct val="125000"/>
            </a:pPr>
            <a:endParaRPr lang="en-US" altLang="en-US" sz="1400" dirty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" name="Rectangle 286"/>
          <p:cNvSpPr txBox="1">
            <a:spLocks noChangeArrowheads="1"/>
          </p:cNvSpPr>
          <p:nvPr/>
        </p:nvSpPr>
        <p:spPr bwMode="auto">
          <a:xfrm>
            <a:off x="93443" y="5702974"/>
            <a:ext cx="8867995" cy="547842"/>
          </a:xfrm>
          <a:prstGeom prst="rect">
            <a:avLst/>
          </a:prstGeom>
          <a:solidFill>
            <a:srgbClr val="FFFFFF"/>
          </a:solidFill>
          <a:ln w="19050">
            <a:noFill/>
            <a:miter lim="800000"/>
            <a:headEnd/>
            <a:tailEnd/>
          </a:ln>
          <a:effectLst/>
          <a:extLst/>
        </p:spPr>
        <p:txBody>
          <a:bodyPr wrap="square" lIns="73152" tIns="73152" rIns="73152" bIns="73152" anchor="ctr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ct val="30000"/>
              </a:spcBef>
              <a:buFont typeface="Arial" charset="0"/>
              <a:buNone/>
              <a:defRPr/>
            </a:pPr>
            <a:r>
              <a:rPr lang="en-US" sz="1300" b="1" dirty="0" smtClean="0"/>
              <a:t>A </a:t>
            </a:r>
            <a:r>
              <a:rPr lang="en-US" sz="1300" b="1" dirty="0"/>
              <a:t>critical </a:t>
            </a:r>
            <a:r>
              <a:rPr lang="en-US" sz="1300" b="1" dirty="0" smtClean="0"/>
              <a:t>goal of </a:t>
            </a:r>
            <a:r>
              <a:rPr lang="en-US" sz="1300" b="1" dirty="0"/>
              <a:t>design and implementation is for multi-payer alignment on this multi-tiered </a:t>
            </a:r>
            <a:r>
              <a:rPr lang="en-US" sz="1300" b="1" dirty="0" smtClean="0"/>
              <a:t>model coupled with payment support for transformation, care management AND value based payment.</a:t>
            </a:r>
          </a:p>
        </p:txBody>
      </p:sp>
      <p:cxnSp>
        <p:nvCxnSpPr>
          <p:cNvPr id="4" name="Elbow Connector 3"/>
          <p:cNvCxnSpPr/>
          <p:nvPr/>
        </p:nvCxnSpPr>
        <p:spPr>
          <a:xfrm flipV="1">
            <a:off x="1348615" y="1649160"/>
            <a:ext cx="4048125" cy="792162"/>
          </a:xfrm>
          <a:prstGeom prst="bentConnector3">
            <a:avLst>
              <a:gd name="adj1" fmla="val 50314"/>
            </a:avLst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33" name="Elbow Connector 32"/>
          <p:cNvCxnSpPr/>
          <p:nvPr/>
        </p:nvCxnSpPr>
        <p:spPr>
          <a:xfrm flipV="1">
            <a:off x="3380615" y="849060"/>
            <a:ext cx="4048125" cy="793750"/>
          </a:xfrm>
          <a:prstGeom prst="bentConnector3">
            <a:avLst>
              <a:gd name="adj1" fmla="val 50314"/>
            </a:avLst>
          </a:prstGeom>
          <a:ln w="28575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717" y="4269054"/>
            <a:ext cx="7310096" cy="1296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368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6149" y="2247675"/>
            <a:ext cx="8618537" cy="430887"/>
          </a:xfrm>
        </p:spPr>
        <p:txBody>
          <a:bodyPr/>
          <a:lstStyle/>
          <a:p>
            <a:pPr algn="ctr"/>
            <a:r>
              <a:rPr lang="en-US" sz="2800" dirty="0" smtClean="0">
                <a:solidFill>
                  <a:schemeClr val="bg1">
                    <a:lumMod val="50000"/>
                  </a:schemeClr>
                </a:solidFill>
              </a:rPr>
              <a:t>Multiple Initiatives – Multiple Perspectives</a:t>
            </a:r>
            <a:endParaRPr lang="en-US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206149" y="2917429"/>
            <a:ext cx="861853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1900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sz="2800" b="0" dirty="0" smtClean="0"/>
              <a:t>Shared Goals and Objectives</a:t>
            </a:r>
            <a:endParaRPr lang="en-US" sz="2800" b="0" dirty="0"/>
          </a:p>
        </p:txBody>
      </p:sp>
    </p:spTree>
    <p:extLst>
      <p:ext uri="{BB962C8B-B14F-4D97-AF65-F5344CB8AC3E}">
        <p14:creationId xmlns:p14="http://schemas.microsoft.com/office/powerpoint/2010/main" val="3281057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7798" name="Object 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5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unded Rectangle 2"/>
          <p:cNvSpPr>
            <a:spLocks/>
          </p:cNvSpPr>
          <p:nvPr/>
        </p:nvSpPr>
        <p:spPr>
          <a:xfrm>
            <a:off x="465138" y="944563"/>
            <a:ext cx="8018462" cy="500062"/>
          </a:xfrm>
          <a:prstGeom prst="round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2"/>
              </a:gs>
            </a:gsLst>
            <a:lin ang="16200000" scaled="1"/>
            <a:tileRect/>
          </a:gra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91440" bIns="91440" anchor="ctr" anchorCtr="1"/>
          <a:lstStyle/>
          <a:p>
            <a:pPr defTabSz="895350">
              <a:buClr>
                <a:srgbClr val="D2533C"/>
              </a:buClr>
              <a:defRPr/>
            </a:pPr>
            <a:endParaRPr lang="en-US" sz="1300" b="1" dirty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17800" name="Rectangle 31"/>
          <p:cNvSpPr txBox="1">
            <a:spLocks noChangeArrowheads="1"/>
          </p:cNvSpPr>
          <p:nvPr/>
        </p:nvSpPr>
        <p:spPr bwMode="auto">
          <a:xfrm>
            <a:off x="598488" y="1058863"/>
            <a:ext cx="775176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Aft>
                <a:spcPts val="200"/>
              </a:spcAft>
              <a:buClr>
                <a:srgbClr val="D2533C"/>
              </a:buClr>
            </a:pPr>
            <a:r>
              <a:rPr lang="en-US" altLang="en-US" sz="1300" b="1" dirty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Strong, expert, coordinated state leadership </a:t>
            </a:r>
            <a:r>
              <a:rPr lang="en-US" altLang="en-US" sz="1300" b="1" dirty="0" smtClea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can </a:t>
            </a:r>
            <a:r>
              <a:rPr lang="en-US" altLang="en-US" sz="1300" b="1" dirty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create </a:t>
            </a:r>
            <a:r>
              <a:rPr lang="en-US" altLang="en-US" sz="1300" b="1" dirty="0" smtClea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value </a:t>
            </a:r>
            <a:r>
              <a:rPr lang="en-US" altLang="en-US" sz="1300" b="1" dirty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over </a:t>
            </a:r>
            <a:r>
              <a:rPr lang="en-US" altLang="en-US" sz="1300" b="1" dirty="0" smtClea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the next four years</a:t>
            </a:r>
            <a:endParaRPr lang="en-US" altLang="en-US" sz="1300" dirty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17801" name="Group 23"/>
          <p:cNvGrpSpPr>
            <a:grpSpLocks/>
          </p:cNvGrpSpPr>
          <p:nvPr/>
        </p:nvGrpSpPr>
        <p:grpSpPr bwMode="auto">
          <a:xfrm>
            <a:off x="2247900" y="1457325"/>
            <a:ext cx="1547813" cy="315913"/>
            <a:chOff x="2190307" y="1561442"/>
            <a:chExt cx="1548293" cy="315649"/>
          </a:xfrm>
        </p:grpSpPr>
        <p:cxnSp>
          <p:nvCxnSpPr>
            <p:cNvPr id="85" name="Straight Arrow Connector 84"/>
            <p:cNvCxnSpPr>
              <a:cxnSpLocks/>
            </p:cNvCxnSpPr>
            <p:nvPr/>
          </p:nvCxnSpPr>
          <p:spPr>
            <a:xfrm flipV="1">
              <a:off x="2190307" y="1561442"/>
              <a:ext cx="0" cy="315649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Arrow Connector 101"/>
            <p:cNvCxnSpPr>
              <a:cxnSpLocks/>
            </p:cNvCxnSpPr>
            <p:nvPr/>
          </p:nvCxnSpPr>
          <p:spPr>
            <a:xfrm flipV="1">
              <a:off x="2577777" y="1561442"/>
              <a:ext cx="0" cy="315649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Arrow Connector 102"/>
            <p:cNvCxnSpPr>
              <a:cxnSpLocks/>
            </p:cNvCxnSpPr>
            <p:nvPr/>
          </p:nvCxnSpPr>
          <p:spPr>
            <a:xfrm flipV="1">
              <a:off x="2963660" y="1561442"/>
              <a:ext cx="0" cy="315649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Arrow Connector 103"/>
            <p:cNvCxnSpPr>
              <a:cxnSpLocks/>
            </p:cNvCxnSpPr>
            <p:nvPr/>
          </p:nvCxnSpPr>
          <p:spPr>
            <a:xfrm flipV="1">
              <a:off x="3351130" y="1561442"/>
              <a:ext cx="0" cy="315649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/>
            <p:cNvCxnSpPr>
              <a:cxnSpLocks/>
            </p:cNvCxnSpPr>
            <p:nvPr/>
          </p:nvCxnSpPr>
          <p:spPr>
            <a:xfrm flipV="1">
              <a:off x="3738600" y="1561442"/>
              <a:ext cx="0" cy="315649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7802" name="Group 105"/>
          <p:cNvGrpSpPr>
            <a:grpSpLocks/>
          </p:cNvGrpSpPr>
          <p:nvPr/>
        </p:nvGrpSpPr>
        <p:grpSpPr bwMode="auto">
          <a:xfrm>
            <a:off x="5059363" y="1457325"/>
            <a:ext cx="1547812" cy="315913"/>
            <a:chOff x="2190307" y="1561442"/>
            <a:chExt cx="1548293" cy="315649"/>
          </a:xfrm>
        </p:grpSpPr>
        <p:cxnSp>
          <p:nvCxnSpPr>
            <p:cNvPr id="107" name="Straight Arrow Connector 106"/>
            <p:cNvCxnSpPr>
              <a:cxnSpLocks/>
            </p:cNvCxnSpPr>
            <p:nvPr/>
          </p:nvCxnSpPr>
          <p:spPr>
            <a:xfrm flipV="1">
              <a:off x="2190307" y="1561442"/>
              <a:ext cx="0" cy="315649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/>
            <p:cNvCxnSpPr>
              <a:cxnSpLocks/>
            </p:cNvCxnSpPr>
            <p:nvPr/>
          </p:nvCxnSpPr>
          <p:spPr>
            <a:xfrm flipV="1">
              <a:off x="2577777" y="1561442"/>
              <a:ext cx="0" cy="315649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Arrow Connector 108"/>
            <p:cNvCxnSpPr>
              <a:cxnSpLocks/>
            </p:cNvCxnSpPr>
            <p:nvPr/>
          </p:nvCxnSpPr>
          <p:spPr>
            <a:xfrm flipV="1">
              <a:off x="2963659" y="1561442"/>
              <a:ext cx="0" cy="315649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Arrow Connector 113"/>
            <p:cNvCxnSpPr>
              <a:cxnSpLocks/>
            </p:cNvCxnSpPr>
            <p:nvPr/>
          </p:nvCxnSpPr>
          <p:spPr>
            <a:xfrm flipV="1">
              <a:off x="3351130" y="1561442"/>
              <a:ext cx="0" cy="315649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Arrow Connector 115"/>
            <p:cNvCxnSpPr>
              <a:cxnSpLocks/>
            </p:cNvCxnSpPr>
            <p:nvPr/>
          </p:nvCxnSpPr>
          <p:spPr>
            <a:xfrm flipV="1">
              <a:off x="3738600" y="1561442"/>
              <a:ext cx="0" cy="315649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7" name="Straight Arrow Connector 116"/>
          <p:cNvCxnSpPr>
            <a:cxnSpLocks/>
          </p:cNvCxnSpPr>
          <p:nvPr/>
        </p:nvCxnSpPr>
        <p:spPr>
          <a:xfrm flipV="1">
            <a:off x="1409700" y="2519363"/>
            <a:ext cx="0" cy="1277937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7804" name="Group 25"/>
          <p:cNvGrpSpPr>
            <a:grpSpLocks/>
          </p:cNvGrpSpPr>
          <p:nvPr/>
        </p:nvGrpSpPr>
        <p:grpSpPr bwMode="auto">
          <a:xfrm>
            <a:off x="2092325" y="2519363"/>
            <a:ext cx="5459413" cy="2433637"/>
            <a:chOff x="2092752" y="2772910"/>
            <a:chExt cx="5458216" cy="1278333"/>
          </a:xfrm>
        </p:grpSpPr>
        <p:cxnSp>
          <p:nvCxnSpPr>
            <p:cNvPr id="118" name="Straight Arrow Connector 117"/>
            <p:cNvCxnSpPr>
              <a:cxnSpLocks/>
            </p:cNvCxnSpPr>
            <p:nvPr/>
          </p:nvCxnSpPr>
          <p:spPr>
            <a:xfrm flipV="1">
              <a:off x="2092752" y="2772910"/>
              <a:ext cx="0" cy="1278333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Arrow Connector 119"/>
            <p:cNvCxnSpPr>
              <a:cxnSpLocks/>
            </p:cNvCxnSpPr>
            <p:nvPr/>
          </p:nvCxnSpPr>
          <p:spPr>
            <a:xfrm flipV="1">
              <a:off x="2775227" y="2772910"/>
              <a:ext cx="0" cy="1278333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Arrow Connector 120"/>
            <p:cNvCxnSpPr>
              <a:cxnSpLocks/>
            </p:cNvCxnSpPr>
            <p:nvPr/>
          </p:nvCxnSpPr>
          <p:spPr>
            <a:xfrm flipV="1">
              <a:off x="3457703" y="2772910"/>
              <a:ext cx="0" cy="1278333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Arrow Connector 132"/>
            <p:cNvCxnSpPr>
              <a:cxnSpLocks/>
            </p:cNvCxnSpPr>
            <p:nvPr/>
          </p:nvCxnSpPr>
          <p:spPr>
            <a:xfrm flipV="1">
              <a:off x="5503542" y="2772910"/>
              <a:ext cx="0" cy="1278333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Arrow Connector 133"/>
            <p:cNvCxnSpPr>
              <a:cxnSpLocks/>
            </p:cNvCxnSpPr>
            <p:nvPr/>
          </p:nvCxnSpPr>
          <p:spPr>
            <a:xfrm flipV="1">
              <a:off x="6186017" y="2772910"/>
              <a:ext cx="0" cy="1278333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Arrow Connector 134"/>
            <p:cNvCxnSpPr>
              <a:cxnSpLocks/>
            </p:cNvCxnSpPr>
            <p:nvPr/>
          </p:nvCxnSpPr>
          <p:spPr>
            <a:xfrm flipV="1">
              <a:off x="6868493" y="2772910"/>
              <a:ext cx="0" cy="1278333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Arrow Connector 135"/>
            <p:cNvCxnSpPr>
              <a:cxnSpLocks/>
            </p:cNvCxnSpPr>
            <p:nvPr/>
          </p:nvCxnSpPr>
          <p:spPr>
            <a:xfrm flipV="1">
              <a:off x="7550968" y="2772910"/>
              <a:ext cx="0" cy="1278333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7" name="Straight Arrow Connector 136"/>
          <p:cNvCxnSpPr>
            <a:cxnSpLocks/>
          </p:cNvCxnSpPr>
          <p:nvPr/>
        </p:nvCxnSpPr>
        <p:spPr>
          <a:xfrm flipV="1">
            <a:off x="8232775" y="2519363"/>
            <a:ext cx="0" cy="2779712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SlideBottomBar"/>
          <p:cNvSpPr>
            <a:spLocks noChangeArrowheads="1"/>
          </p:cNvSpPr>
          <p:nvPr/>
        </p:nvSpPr>
        <p:spPr bwMode="auto">
          <a:xfrm>
            <a:off x="0" y="5900738"/>
            <a:ext cx="8961438" cy="1714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en-US" dirty="0">
              <a:solidFill>
                <a:srgbClr val="292934"/>
              </a:solidFill>
              <a:latin typeface="Arial"/>
            </a:endParaRPr>
          </a:p>
        </p:txBody>
      </p:sp>
      <p:sp>
        <p:nvSpPr>
          <p:cNvPr id="417807" name="Title 1"/>
          <p:cNvSpPr>
            <a:spLocks noGrp="1"/>
          </p:cNvSpPr>
          <p:nvPr>
            <p:ph type="title"/>
          </p:nvPr>
        </p:nvSpPr>
        <p:spPr>
          <a:xfrm>
            <a:off x="81756" y="76539"/>
            <a:ext cx="7948246" cy="677108"/>
          </a:xfrm>
        </p:spPr>
        <p:txBody>
          <a:bodyPr/>
          <a:lstStyle/>
          <a:p>
            <a:r>
              <a:rPr lang="en-US" altLang="en-US" sz="2400" dirty="0" smtClean="0"/>
              <a:t>The SIM Grant </a:t>
            </a:r>
            <a:br>
              <a:rPr lang="en-US" altLang="en-US" sz="2400" dirty="0" smtClean="0"/>
            </a:br>
            <a:r>
              <a:rPr lang="en-US" altLang="en-US" sz="2000" i="1" dirty="0" smtClean="0"/>
              <a:t>Will Spur Innovation and Catalyze Change</a:t>
            </a:r>
            <a:endParaRPr lang="en-US" altLang="en-US" sz="2000" i="1" baseline="30000" dirty="0" smtClean="0"/>
          </a:p>
        </p:txBody>
      </p:sp>
      <p:sp>
        <p:nvSpPr>
          <p:cNvPr id="79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6943725" y="6313488"/>
            <a:ext cx="2017713" cy="357187"/>
          </a:xfrm>
          <a:prstGeom prst="rect">
            <a:avLst/>
          </a:prstGeom>
        </p:spPr>
        <p:txBody>
          <a:bodyPr/>
          <a:lstStyle/>
          <a:p>
            <a:fld id="{B5CB55A6-F78F-48EB-BB67-C25CEB7789C0}" type="slidenum">
              <a:rPr lang="en-US">
                <a:solidFill>
                  <a:srgbClr val="292934"/>
                </a:solidFill>
              </a:rPr>
              <a:pPr/>
              <a:t>9</a:t>
            </a:fld>
            <a:endParaRPr lang="en-US" dirty="0">
              <a:solidFill>
                <a:srgbClr val="292934"/>
              </a:solidFill>
            </a:endParaRPr>
          </a:p>
        </p:txBody>
      </p:sp>
      <p:sp>
        <p:nvSpPr>
          <p:cNvPr id="36" name="AutoShape 4"/>
          <p:cNvSpPr>
            <a:spLocks noChangeArrowheads="1"/>
          </p:cNvSpPr>
          <p:nvPr/>
        </p:nvSpPr>
        <p:spPr bwMode="auto">
          <a:xfrm>
            <a:off x="5141913" y="3098800"/>
            <a:ext cx="1247775" cy="1000125"/>
          </a:xfrm>
          <a:prstGeom prst="hexagon">
            <a:avLst>
              <a:gd name="adj" fmla="val 30923"/>
              <a:gd name="vf" fmla="val 115470"/>
            </a:avLst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91440" bIns="91440" anchor="ctr"/>
          <a:lstStyle/>
          <a:p>
            <a:pPr defTabSz="895350">
              <a:buClr>
                <a:srgbClr val="D2533C"/>
              </a:buClr>
              <a:defRPr/>
            </a:pPr>
            <a:endParaRPr lang="en-US" sz="1300" b="1" dirty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17810" name="Rectangle 31"/>
          <p:cNvSpPr txBox="1">
            <a:spLocks noChangeArrowheads="1"/>
          </p:cNvSpPr>
          <p:nvPr/>
        </p:nvSpPr>
        <p:spPr bwMode="auto">
          <a:xfrm>
            <a:off x="5176838" y="3498850"/>
            <a:ext cx="1179512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>
              <a:buClr>
                <a:srgbClr val="D2533C"/>
              </a:buClr>
            </a:pPr>
            <a:r>
              <a:rPr lang="en-US" altLang="en-US" sz="1300" b="1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rPr>
              <a:t>Rate Review</a:t>
            </a:r>
          </a:p>
        </p:txBody>
      </p:sp>
      <p:grpSp>
        <p:nvGrpSpPr>
          <p:cNvPr id="417811" name="Group 10"/>
          <p:cNvGrpSpPr>
            <a:grpSpLocks/>
          </p:cNvGrpSpPr>
          <p:nvPr/>
        </p:nvGrpSpPr>
        <p:grpSpPr bwMode="auto">
          <a:xfrm>
            <a:off x="7015163" y="4799013"/>
            <a:ext cx="1285875" cy="1000125"/>
            <a:chOff x="5855825" y="4707282"/>
            <a:chExt cx="1286256" cy="1000016"/>
          </a:xfrm>
        </p:grpSpPr>
        <p:sp>
          <p:nvSpPr>
            <p:cNvPr id="28" name="AutoShape 4"/>
            <p:cNvSpPr>
              <a:spLocks noChangeArrowheads="1"/>
            </p:cNvSpPr>
            <p:nvPr/>
          </p:nvSpPr>
          <p:spPr bwMode="auto">
            <a:xfrm>
              <a:off x="5855825" y="4707282"/>
              <a:ext cx="1246556" cy="1000016"/>
            </a:xfrm>
            <a:prstGeom prst="hexagon">
              <a:avLst>
                <a:gd name="adj" fmla="val 30923"/>
                <a:gd name="vf" fmla="val 115470"/>
              </a:avLst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tIns="91440" bIns="91440" anchor="ctr"/>
            <a:lstStyle/>
            <a:p>
              <a:pPr defTabSz="895350">
                <a:buClr>
                  <a:srgbClr val="D2533C"/>
                </a:buClr>
                <a:defRPr/>
              </a:pPr>
              <a:endParaRPr lang="en-US" sz="1300" b="1" dirty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17858" name="Rectangle 31"/>
            <p:cNvSpPr txBox="1">
              <a:spLocks noChangeArrowheads="1"/>
            </p:cNvSpPr>
            <p:nvPr/>
          </p:nvSpPr>
          <p:spPr bwMode="auto">
            <a:xfrm>
              <a:off x="5889278" y="5007234"/>
              <a:ext cx="1252803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buClr>
                  <a:srgbClr val="D2533C"/>
                </a:buClr>
              </a:pPr>
              <a: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APD</a:t>
              </a:r>
            </a:p>
            <a:p>
              <a:pPr algn="ctr">
                <a:buClr>
                  <a:srgbClr val="D2533C"/>
                </a:buClr>
              </a:pPr>
              <a:endParaRPr lang="en-US" altLang="en-US" sz="1300" i="1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417812" name="Group 16"/>
          <p:cNvGrpSpPr>
            <a:grpSpLocks/>
          </p:cNvGrpSpPr>
          <p:nvPr/>
        </p:nvGrpSpPr>
        <p:grpSpPr bwMode="auto">
          <a:xfrm>
            <a:off x="7229475" y="3698875"/>
            <a:ext cx="1246188" cy="998538"/>
            <a:chOff x="5855826" y="3382341"/>
            <a:chExt cx="1246348" cy="1000016"/>
          </a:xfrm>
        </p:grpSpPr>
        <p:sp>
          <p:nvSpPr>
            <p:cNvPr id="52" name="AutoShape 4"/>
            <p:cNvSpPr>
              <a:spLocks noChangeArrowheads="1"/>
            </p:cNvSpPr>
            <p:nvPr/>
          </p:nvSpPr>
          <p:spPr bwMode="auto">
            <a:xfrm>
              <a:off x="5855826" y="3382341"/>
              <a:ext cx="1246348" cy="1000016"/>
            </a:xfrm>
            <a:prstGeom prst="hexagon">
              <a:avLst>
                <a:gd name="adj" fmla="val 30923"/>
                <a:gd name="vf" fmla="val 115470"/>
              </a:avLst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tIns="91440" bIns="91440" anchor="ctr"/>
            <a:lstStyle/>
            <a:p>
              <a:pPr defTabSz="895350">
                <a:buClr>
                  <a:srgbClr val="D2533C"/>
                </a:buClr>
                <a:defRPr/>
              </a:pPr>
              <a:endParaRPr lang="en-US" sz="1300" b="1" dirty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17856" name="Rectangle 31"/>
            <p:cNvSpPr txBox="1">
              <a:spLocks noChangeArrowheads="1"/>
            </p:cNvSpPr>
            <p:nvPr/>
          </p:nvSpPr>
          <p:spPr bwMode="auto">
            <a:xfrm>
              <a:off x="5889280" y="3682293"/>
              <a:ext cx="1179440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buClr>
                  <a:srgbClr val="D2533C"/>
                </a:buClr>
              </a:pPr>
              <a: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PHIPs</a:t>
              </a:r>
            </a:p>
            <a:p>
              <a:pPr algn="ctr">
                <a:buClr>
                  <a:srgbClr val="D2533C"/>
                </a:buClr>
              </a:pPr>
              <a:endParaRPr lang="en-US" altLang="en-US" sz="1300" i="1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73" name="AutoShape 4"/>
          <p:cNvSpPr>
            <a:spLocks noChangeArrowheads="1"/>
          </p:cNvSpPr>
          <p:nvPr/>
        </p:nvSpPr>
        <p:spPr bwMode="auto">
          <a:xfrm>
            <a:off x="4568825" y="1690688"/>
            <a:ext cx="2532063" cy="647700"/>
          </a:xfrm>
          <a:prstGeom prst="hexagon">
            <a:avLst>
              <a:gd name="adj" fmla="val 30923"/>
              <a:gd name="vf" fmla="val 115470"/>
            </a:avLst>
          </a:prstGeom>
          <a:noFill/>
          <a:ln w="9525">
            <a:solidFill>
              <a:schemeClr val="accent4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91440" bIns="91440" anchor="ctr"/>
          <a:lstStyle/>
          <a:p>
            <a:pPr defTabSz="895350">
              <a:buClr>
                <a:srgbClr val="D2533C"/>
              </a:buClr>
              <a:defRPr/>
            </a:pPr>
            <a:endParaRPr lang="en-US" sz="1300" b="1" dirty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17814" name="Group 4"/>
          <p:cNvGrpSpPr>
            <a:grpSpLocks/>
          </p:cNvGrpSpPr>
          <p:nvPr/>
        </p:nvGrpSpPr>
        <p:grpSpPr bwMode="auto">
          <a:xfrm>
            <a:off x="1755775" y="1690688"/>
            <a:ext cx="2532063" cy="647700"/>
            <a:chOff x="3040665" y="2709967"/>
            <a:chExt cx="1246348" cy="1000016"/>
          </a:xfrm>
        </p:grpSpPr>
        <p:sp>
          <p:nvSpPr>
            <p:cNvPr id="49" name="AutoShape 4"/>
            <p:cNvSpPr>
              <a:spLocks noChangeArrowheads="1"/>
            </p:cNvSpPr>
            <p:nvPr/>
          </p:nvSpPr>
          <p:spPr bwMode="auto">
            <a:xfrm>
              <a:off x="3040665" y="2709967"/>
              <a:ext cx="1246348" cy="1000016"/>
            </a:xfrm>
            <a:prstGeom prst="hexagon">
              <a:avLst>
                <a:gd name="adj" fmla="val 30923"/>
                <a:gd name="vf" fmla="val 115470"/>
              </a:avLst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tIns="91440" bIns="91440" anchor="ctr"/>
            <a:lstStyle/>
            <a:p>
              <a:pPr defTabSz="895350">
                <a:buClr>
                  <a:srgbClr val="D2533C"/>
                </a:buClr>
                <a:defRPr/>
              </a:pPr>
              <a:endParaRPr lang="en-US" sz="1300" b="1" dirty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17854" name="Rectangle 31"/>
            <p:cNvSpPr txBox="1">
              <a:spLocks noChangeArrowheads="1"/>
            </p:cNvSpPr>
            <p:nvPr/>
          </p:nvSpPr>
          <p:spPr bwMode="auto">
            <a:xfrm>
              <a:off x="3074119" y="2901100"/>
              <a:ext cx="1179440" cy="617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buClr>
                  <a:srgbClr val="D2533C"/>
                </a:buClr>
              </a:pPr>
              <a: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DSRIP</a:t>
              </a:r>
            </a:p>
            <a:p>
              <a:pPr algn="ctr">
                <a:buClr>
                  <a:srgbClr val="D2533C"/>
                </a:buClr>
              </a:pPr>
              <a:endParaRPr lang="en-US" altLang="en-US" sz="1300" i="1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417815" name="Group 14"/>
          <p:cNvGrpSpPr>
            <a:grpSpLocks/>
          </p:cNvGrpSpPr>
          <p:nvPr/>
        </p:nvGrpSpPr>
        <p:grpSpPr bwMode="auto">
          <a:xfrm>
            <a:off x="1822450" y="4238625"/>
            <a:ext cx="1246188" cy="998538"/>
            <a:chOff x="602560" y="2709967"/>
            <a:chExt cx="1246348" cy="1000016"/>
          </a:xfrm>
        </p:grpSpPr>
        <p:sp>
          <p:nvSpPr>
            <p:cNvPr id="77" name="AutoShape 4"/>
            <p:cNvSpPr>
              <a:spLocks noChangeArrowheads="1"/>
            </p:cNvSpPr>
            <p:nvPr/>
          </p:nvSpPr>
          <p:spPr bwMode="auto">
            <a:xfrm>
              <a:off x="602560" y="2709967"/>
              <a:ext cx="1246348" cy="1000016"/>
            </a:xfrm>
            <a:prstGeom prst="hexagon">
              <a:avLst>
                <a:gd name="adj" fmla="val 30923"/>
                <a:gd name="vf" fmla="val 115470"/>
              </a:avLst>
            </a:prstGeom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tIns="91440" bIns="91440" anchor="ctr"/>
            <a:lstStyle/>
            <a:p>
              <a:pPr defTabSz="895350">
                <a:buClr>
                  <a:srgbClr val="D2533C"/>
                </a:buClr>
                <a:defRPr/>
              </a:pPr>
              <a:endParaRPr lang="en-US" sz="1300" b="1" dirty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17852" name="Rectangle 31"/>
            <p:cNvSpPr txBox="1">
              <a:spLocks noChangeArrowheads="1"/>
            </p:cNvSpPr>
            <p:nvPr/>
          </p:nvSpPr>
          <p:spPr bwMode="auto">
            <a:xfrm>
              <a:off x="636014" y="2925948"/>
              <a:ext cx="1179440" cy="600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buClr>
                  <a:srgbClr val="D2533C"/>
                </a:buClr>
              </a:pPr>
              <a: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NY SHIP</a:t>
              </a:r>
              <a:b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value-based</a:t>
              </a:r>
              <a:b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</a:br>
              <a: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purchasing</a:t>
              </a:r>
            </a:p>
          </p:txBody>
        </p:sp>
      </p:grpSp>
      <p:grpSp>
        <p:nvGrpSpPr>
          <p:cNvPr id="417816" name="Group 11"/>
          <p:cNvGrpSpPr>
            <a:grpSpLocks/>
          </p:cNvGrpSpPr>
          <p:nvPr/>
        </p:nvGrpSpPr>
        <p:grpSpPr bwMode="auto">
          <a:xfrm>
            <a:off x="2554288" y="3098800"/>
            <a:ext cx="1246187" cy="1000125"/>
            <a:chOff x="1807801" y="4707282"/>
            <a:chExt cx="1246348" cy="1000016"/>
          </a:xfrm>
        </p:grpSpPr>
        <p:sp>
          <p:nvSpPr>
            <p:cNvPr id="67" name="AutoShape 4"/>
            <p:cNvSpPr>
              <a:spLocks noChangeArrowheads="1"/>
            </p:cNvSpPr>
            <p:nvPr/>
          </p:nvSpPr>
          <p:spPr bwMode="auto">
            <a:xfrm>
              <a:off x="1807801" y="4707282"/>
              <a:ext cx="1246348" cy="1000016"/>
            </a:xfrm>
            <a:prstGeom prst="hexagon">
              <a:avLst>
                <a:gd name="adj" fmla="val 30923"/>
                <a:gd name="vf" fmla="val 115470"/>
              </a:avLst>
            </a:prstGeom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tIns="91440" bIns="91440" anchor="ctr"/>
            <a:lstStyle/>
            <a:p>
              <a:pPr defTabSz="895350">
                <a:buClr>
                  <a:srgbClr val="D2533C"/>
                </a:buClr>
                <a:defRPr/>
              </a:pPr>
              <a:endParaRPr lang="en-US" sz="1300" b="1" dirty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17850" name="Rectangle 31"/>
            <p:cNvSpPr txBox="1">
              <a:spLocks noChangeArrowheads="1"/>
            </p:cNvSpPr>
            <p:nvPr/>
          </p:nvSpPr>
          <p:spPr bwMode="auto">
            <a:xfrm>
              <a:off x="1841255" y="5039344"/>
              <a:ext cx="1179440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buClr>
                  <a:srgbClr val="D2533C"/>
                </a:buClr>
              </a:pPr>
              <a: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Prevention Agenda</a:t>
              </a:r>
            </a:p>
          </p:txBody>
        </p:sp>
      </p:grpSp>
      <p:grpSp>
        <p:nvGrpSpPr>
          <p:cNvPr id="417817" name="Group 7"/>
          <p:cNvGrpSpPr>
            <a:grpSpLocks/>
          </p:cNvGrpSpPr>
          <p:nvPr/>
        </p:nvGrpSpPr>
        <p:grpSpPr bwMode="auto">
          <a:xfrm>
            <a:off x="6423025" y="2681288"/>
            <a:ext cx="1254125" cy="1000125"/>
            <a:chOff x="5855827" y="2116089"/>
            <a:chExt cx="1252737" cy="1000016"/>
          </a:xfrm>
        </p:grpSpPr>
        <p:sp>
          <p:nvSpPr>
            <p:cNvPr id="43" name="AutoShape 4"/>
            <p:cNvSpPr>
              <a:spLocks noChangeArrowheads="1"/>
            </p:cNvSpPr>
            <p:nvPr/>
          </p:nvSpPr>
          <p:spPr bwMode="auto">
            <a:xfrm>
              <a:off x="5855827" y="2116089"/>
              <a:ext cx="1246394" cy="1000016"/>
            </a:xfrm>
            <a:prstGeom prst="hexagon">
              <a:avLst>
                <a:gd name="adj" fmla="val 30923"/>
                <a:gd name="vf" fmla="val 115470"/>
              </a:avLst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tIns="91440" bIns="91440" anchor="ctr"/>
            <a:lstStyle/>
            <a:p>
              <a:pPr defTabSz="895350">
                <a:buClr>
                  <a:srgbClr val="D2533C"/>
                </a:buClr>
                <a:defRPr/>
              </a:pPr>
              <a:endParaRPr lang="en-US" sz="1300" b="1" dirty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17848" name="Rectangle 31"/>
            <p:cNvSpPr txBox="1">
              <a:spLocks noChangeArrowheads="1"/>
            </p:cNvSpPr>
            <p:nvPr/>
          </p:nvSpPr>
          <p:spPr bwMode="auto">
            <a:xfrm>
              <a:off x="5872520" y="2416041"/>
              <a:ext cx="123604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buClr>
                  <a:srgbClr val="D2533C"/>
                </a:buClr>
              </a:pPr>
              <a: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NY State of Health</a:t>
              </a:r>
            </a:p>
          </p:txBody>
        </p:sp>
      </p:grpSp>
      <p:grpSp>
        <p:nvGrpSpPr>
          <p:cNvPr id="417818" name="Group 12"/>
          <p:cNvGrpSpPr>
            <a:grpSpLocks/>
          </p:cNvGrpSpPr>
          <p:nvPr/>
        </p:nvGrpSpPr>
        <p:grpSpPr bwMode="auto">
          <a:xfrm>
            <a:off x="1273175" y="2681288"/>
            <a:ext cx="1246188" cy="1000125"/>
            <a:chOff x="1837919" y="3382342"/>
            <a:chExt cx="1246348" cy="1000016"/>
          </a:xfrm>
        </p:grpSpPr>
        <p:sp>
          <p:nvSpPr>
            <p:cNvPr id="87" name="AutoShape 4"/>
            <p:cNvSpPr>
              <a:spLocks noChangeArrowheads="1"/>
            </p:cNvSpPr>
            <p:nvPr/>
          </p:nvSpPr>
          <p:spPr bwMode="auto">
            <a:xfrm>
              <a:off x="1837919" y="3382342"/>
              <a:ext cx="1246348" cy="1000016"/>
            </a:xfrm>
            <a:prstGeom prst="hexagon">
              <a:avLst>
                <a:gd name="adj" fmla="val 30923"/>
                <a:gd name="vf" fmla="val 115470"/>
              </a:avLst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tIns="91440" bIns="91440" anchor="ctr"/>
            <a:lstStyle/>
            <a:p>
              <a:pPr defTabSz="895350">
                <a:buClr>
                  <a:srgbClr val="D2533C"/>
                </a:buClr>
                <a:defRPr/>
              </a:pPr>
              <a:endParaRPr lang="en-US" sz="1300" b="1" dirty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17846" name="Rectangle 31"/>
            <p:cNvSpPr txBox="1">
              <a:spLocks noChangeArrowheads="1"/>
            </p:cNvSpPr>
            <p:nvPr/>
          </p:nvSpPr>
          <p:spPr bwMode="auto">
            <a:xfrm>
              <a:off x="1871373" y="3630433"/>
              <a:ext cx="1179440" cy="600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buClr>
                  <a:srgbClr val="D2533C"/>
                </a:buClr>
              </a:pPr>
              <a: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Capital Restructuring</a:t>
              </a:r>
            </a:p>
            <a:p>
              <a:pPr algn="ctr">
                <a:buClr>
                  <a:srgbClr val="D2533C"/>
                </a:buClr>
              </a:pPr>
              <a:endParaRPr lang="en-US" altLang="en-US" sz="1300" i="1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66" name="AutoShape 4"/>
          <p:cNvSpPr>
            <a:spLocks noChangeArrowheads="1"/>
          </p:cNvSpPr>
          <p:nvPr/>
        </p:nvSpPr>
        <p:spPr bwMode="auto">
          <a:xfrm>
            <a:off x="3214688" y="3783013"/>
            <a:ext cx="2513012" cy="2016125"/>
          </a:xfrm>
          <a:prstGeom prst="hexagon">
            <a:avLst>
              <a:gd name="adj" fmla="val 30923"/>
              <a:gd name="vf" fmla="val 115470"/>
            </a:avLst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91440" bIns="91440" anchor="ctr"/>
          <a:lstStyle/>
          <a:p>
            <a:pPr defTabSz="895350">
              <a:buClr>
                <a:srgbClr val="D2533C"/>
              </a:buClr>
              <a:defRPr/>
            </a:pPr>
            <a:endParaRPr lang="en-US" sz="1300" b="1" dirty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17820" name="Rectangle 31"/>
          <p:cNvSpPr txBox="1">
            <a:spLocks noChangeArrowheads="1"/>
          </p:cNvSpPr>
          <p:nvPr/>
        </p:nvSpPr>
        <p:spPr bwMode="auto">
          <a:xfrm>
            <a:off x="3719513" y="4000500"/>
            <a:ext cx="1503362" cy="167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spcAft>
                <a:spcPts val="200"/>
              </a:spcAft>
              <a:buClr>
                <a:srgbClr val="D2533C"/>
              </a:buClr>
            </a:pPr>
            <a:r>
              <a:rPr lang="en-US" altLang="en-US" sz="1300" b="1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rPr>
              <a:t>SIM Testing Grant </a:t>
            </a:r>
          </a:p>
          <a:p>
            <a:pPr lvl="1">
              <a:spcAft>
                <a:spcPts val="200"/>
              </a:spcAft>
              <a:buClr>
                <a:srgbClr val="292934"/>
              </a:buClr>
              <a:buSzPct val="125000"/>
              <a:buFont typeface="Arial" charset="0"/>
              <a:buChar char="▪"/>
            </a:pPr>
            <a:r>
              <a:rPr lang="en-US" altLang="en-US" sz="1300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rPr>
              <a:t>State-wide leadership</a:t>
            </a:r>
          </a:p>
          <a:p>
            <a:pPr lvl="1">
              <a:spcAft>
                <a:spcPts val="200"/>
              </a:spcAft>
              <a:buClr>
                <a:srgbClr val="292934"/>
              </a:buClr>
              <a:buSzPct val="125000"/>
              <a:buFont typeface="Arial" charset="0"/>
              <a:buChar char="▪"/>
            </a:pPr>
            <a:r>
              <a:rPr lang="en-US" altLang="en-US" sz="1300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rPr>
              <a:t>Stakeholder alignment</a:t>
            </a:r>
          </a:p>
          <a:p>
            <a:pPr lvl="1">
              <a:spcAft>
                <a:spcPts val="200"/>
              </a:spcAft>
              <a:buClr>
                <a:srgbClr val="292934"/>
              </a:buClr>
              <a:buSzPct val="125000"/>
              <a:buFont typeface="Arial" charset="0"/>
              <a:buChar char="▪"/>
            </a:pPr>
            <a:r>
              <a:rPr lang="en-US" altLang="en-US" sz="1300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rPr>
              <a:t>Multi-payer business design and support</a:t>
            </a:r>
          </a:p>
        </p:txBody>
      </p:sp>
      <p:sp>
        <p:nvSpPr>
          <p:cNvPr id="72" name="Legend1"/>
          <p:cNvSpPr>
            <a:spLocks noChangeArrowheads="1"/>
          </p:cNvSpPr>
          <p:nvPr/>
        </p:nvSpPr>
        <p:spPr bwMode="auto">
          <a:xfrm>
            <a:off x="728663" y="5537199"/>
            <a:ext cx="1133475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895350">
              <a:buClr>
                <a:srgbClr val="D2533C"/>
              </a:buClr>
              <a:defRPr/>
            </a:pPr>
            <a:r>
              <a:rPr lang="en-US" sz="1200" dirty="0">
                <a:solidFill>
                  <a:srgbClr val="292934"/>
                </a:solidFill>
                <a:latin typeface="Arial"/>
              </a:rPr>
              <a:t>Currently funded</a:t>
            </a:r>
          </a:p>
        </p:txBody>
      </p:sp>
      <p:sp>
        <p:nvSpPr>
          <p:cNvPr id="76" name="Legend2"/>
          <p:cNvSpPr>
            <a:spLocks noChangeArrowheads="1"/>
          </p:cNvSpPr>
          <p:nvPr/>
        </p:nvSpPr>
        <p:spPr bwMode="auto">
          <a:xfrm>
            <a:off x="728663" y="5765799"/>
            <a:ext cx="1423987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895350">
              <a:buClr>
                <a:srgbClr val="D2533C"/>
              </a:buClr>
              <a:defRPr/>
            </a:pPr>
            <a:r>
              <a:rPr lang="en-US" sz="1200" dirty="0">
                <a:solidFill>
                  <a:srgbClr val="292934"/>
                </a:solidFill>
                <a:latin typeface="Arial"/>
              </a:rPr>
              <a:t>Planned SIM funding</a:t>
            </a:r>
          </a:p>
        </p:txBody>
      </p:sp>
      <p:sp>
        <p:nvSpPr>
          <p:cNvPr id="96" name="AutoShape 4"/>
          <p:cNvSpPr>
            <a:spLocks noChangeArrowheads="1"/>
          </p:cNvSpPr>
          <p:nvPr/>
        </p:nvSpPr>
        <p:spPr bwMode="auto">
          <a:xfrm>
            <a:off x="361950" y="5765799"/>
            <a:ext cx="230188" cy="184150"/>
          </a:xfrm>
          <a:prstGeom prst="hexagon">
            <a:avLst>
              <a:gd name="adj" fmla="val 30923"/>
              <a:gd name="vf" fmla="val 115470"/>
            </a:avLst>
          </a:prstGeom>
          <a:gradFill flip="none" rotWithShape="1">
            <a:gsLst>
              <a:gs pos="0">
                <a:schemeClr val="accent2">
                  <a:lumMod val="75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91440" bIns="91440" anchor="ctr"/>
          <a:lstStyle/>
          <a:p>
            <a:pPr defTabSz="895350">
              <a:buClr>
                <a:srgbClr val="D2533C"/>
              </a:buClr>
              <a:defRPr/>
            </a:pPr>
            <a:endParaRPr lang="en-US" sz="1300" b="1" dirty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7" name="AutoShape 4"/>
          <p:cNvSpPr>
            <a:spLocks noChangeArrowheads="1"/>
          </p:cNvSpPr>
          <p:nvPr/>
        </p:nvSpPr>
        <p:spPr bwMode="auto">
          <a:xfrm>
            <a:off x="361950" y="5537199"/>
            <a:ext cx="230188" cy="184150"/>
          </a:xfrm>
          <a:prstGeom prst="hexagon">
            <a:avLst>
              <a:gd name="adj" fmla="val 30923"/>
              <a:gd name="vf" fmla="val 115470"/>
            </a:avLst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  <a:tileRect/>
          </a:gra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91440" bIns="91440" anchor="ctr"/>
          <a:lstStyle/>
          <a:p>
            <a:pPr defTabSz="895350">
              <a:buClr>
                <a:srgbClr val="D2533C"/>
              </a:buClr>
              <a:defRPr/>
            </a:pPr>
            <a:endParaRPr lang="en-US" sz="1400" b="1" dirty="0">
              <a:solidFill>
                <a:srgbClr val="FFFFFF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17826" name="Group 15"/>
          <p:cNvGrpSpPr>
            <a:grpSpLocks/>
          </p:cNvGrpSpPr>
          <p:nvPr/>
        </p:nvGrpSpPr>
        <p:grpSpPr bwMode="auto">
          <a:xfrm>
            <a:off x="5822950" y="4238625"/>
            <a:ext cx="1246188" cy="998538"/>
            <a:chOff x="602560" y="4038882"/>
            <a:chExt cx="1246348" cy="1000016"/>
          </a:xfrm>
        </p:grpSpPr>
        <p:grpSp>
          <p:nvGrpSpPr>
            <p:cNvPr id="417841" name="Group 3"/>
            <p:cNvGrpSpPr>
              <a:grpSpLocks/>
            </p:cNvGrpSpPr>
            <p:nvPr/>
          </p:nvGrpSpPr>
          <p:grpSpPr bwMode="auto">
            <a:xfrm>
              <a:off x="602560" y="4038882"/>
              <a:ext cx="1246348" cy="1000016"/>
              <a:chOff x="465556" y="3928956"/>
              <a:chExt cx="1520355" cy="1219867"/>
            </a:xfrm>
          </p:grpSpPr>
          <p:sp>
            <p:nvSpPr>
              <p:cNvPr id="82" name="AutoShape 4"/>
              <p:cNvSpPr>
                <a:spLocks noChangeArrowheads="1"/>
              </p:cNvSpPr>
              <p:nvPr/>
            </p:nvSpPr>
            <p:spPr bwMode="auto">
              <a:xfrm>
                <a:off x="465556" y="3928956"/>
                <a:ext cx="1520355" cy="1219867"/>
              </a:xfrm>
              <a:prstGeom prst="hexagon">
                <a:avLst>
                  <a:gd name="adj" fmla="val 30923"/>
                  <a:gd name="vf" fmla="val 115470"/>
                </a:avLst>
              </a:prstGeom>
              <a:gradFill flip="none" rotWithShape="1"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>
                      <a:lumMod val="20000"/>
                      <a:lumOff val="80000"/>
                    </a:schemeClr>
                  </a:gs>
                </a:gsLst>
                <a:lin ang="16200000" scaled="1"/>
                <a:tileRect/>
              </a:gradFill>
              <a:ln w="9525">
                <a:solidFill>
                  <a:schemeClr val="accent2"/>
                </a:solidFill>
                <a:miter lim="800000"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tIns="91440" bIns="91440" anchor="ctr"/>
              <a:lstStyle/>
              <a:p>
                <a:pPr defTabSz="895350">
                  <a:buClr>
                    <a:srgbClr val="D2533C"/>
                  </a:buClr>
                  <a:defRPr/>
                </a:pPr>
                <a:endParaRPr lang="en-US" sz="1300" b="1" dirty="0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6" name="Freeform 5"/>
              <p:cNvSpPr/>
              <p:nvPr/>
            </p:nvSpPr>
            <p:spPr>
              <a:xfrm>
                <a:off x="1226702" y="4537920"/>
                <a:ext cx="757271" cy="610903"/>
              </a:xfrm>
              <a:custGeom>
                <a:avLst/>
                <a:gdLst>
                  <a:gd name="connsiteX0" fmla="*/ 0 w 1140618"/>
                  <a:gd name="connsiteY0" fmla="*/ 1214437 h 1216819"/>
                  <a:gd name="connsiteX1" fmla="*/ 764381 w 1140618"/>
                  <a:gd name="connsiteY1" fmla="*/ 0 h 1216819"/>
                  <a:gd name="connsiteX2" fmla="*/ 1140618 w 1140618"/>
                  <a:gd name="connsiteY2" fmla="*/ 607219 h 1216819"/>
                  <a:gd name="connsiteX3" fmla="*/ 769143 w 1140618"/>
                  <a:gd name="connsiteY3" fmla="*/ 1216819 h 1216819"/>
                  <a:gd name="connsiteX4" fmla="*/ 0 w 1140618"/>
                  <a:gd name="connsiteY4" fmla="*/ 1214437 h 1216819"/>
                  <a:gd name="connsiteX0" fmla="*/ 0 w 1140618"/>
                  <a:gd name="connsiteY0" fmla="*/ 607219 h 609601"/>
                  <a:gd name="connsiteX1" fmla="*/ 383381 w 1140618"/>
                  <a:gd name="connsiteY1" fmla="*/ 0 h 609601"/>
                  <a:gd name="connsiteX2" fmla="*/ 1140618 w 1140618"/>
                  <a:gd name="connsiteY2" fmla="*/ 1 h 609601"/>
                  <a:gd name="connsiteX3" fmla="*/ 769143 w 1140618"/>
                  <a:gd name="connsiteY3" fmla="*/ 609601 h 609601"/>
                  <a:gd name="connsiteX4" fmla="*/ 0 w 1140618"/>
                  <a:gd name="connsiteY4" fmla="*/ 607219 h 609601"/>
                  <a:gd name="connsiteX0" fmla="*/ 385762 w 757237"/>
                  <a:gd name="connsiteY0" fmla="*/ 609601 h 609601"/>
                  <a:gd name="connsiteX1" fmla="*/ 0 w 757237"/>
                  <a:gd name="connsiteY1" fmla="*/ 0 h 609601"/>
                  <a:gd name="connsiteX2" fmla="*/ 757237 w 757237"/>
                  <a:gd name="connsiteY2" fmla="*/ 1 h 609601"/>
                  <a:gd name="connsiteX3" fmla="*/ 385762 w 757237"/>
                  <a:gd name="connsiteY3" fmla="*/ 609601 h 609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57237" h="609601">
                    <a:moveTo>
                      <a:pt x="385762" y="609601"/>
                    </a:moveTo>
                    <a:lnTo>
                      <a:pt x="0" y="0"/>
                    </a:lnTo>
                    <a:lnTo>
                      <a:pt x="757237" y="1"/>
                    </a:lnTo>
                    <a:lnTo>
                      <a:pt x="385762" y="609601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75000"/>
                    </a:schemeClr>
                  </a:gs>
                  <a:gs pos="100000">
                    <a:schemeClr val="accent2">
                      <a:lumMod val="60000"/>
                      <a:lumOff val="40000"/>
                    </a:schemeClr>
                  </a:gs>
                </a:gsLst>
                <a:lin ang="16200000" scaled="1"/>
                <a:tileRect/>
              </a:gradFill>
              <a:ln w="9525">
                <a:solidFill>
                  <a:schemeClr val="accent2"/>
                </a:solidFill>
                <a:miter lim="800000"/>
                <a:headEnd/>
                <a:tailEnd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tIns="91440" bIns="91440" anchor="ctr"/>
              <a:lstStyle/>
              <a:p>
                <a:pPr defTabSz="895350">
                  <a:buClr>
                    <a:srgbClr val="D2533C"/>
                  </a:buClr>
                  <a:defRPr/>
                </a:pPr>
                <a:endParaRPr lang="en-US" sz="1300" b="1" dirty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417842" name="Rectangle 31"/>
            <p:cNvSpPr txBox="1">
              <a:spLocks noChangeArrowheads="1"/>
            </p:cNvSpPr>
            <p:nvPr/>
          </p:nvSpPr>
          <p:spPr bwMode="auto">
            <a:xfrm>
              <a:off x="636013" y="4238807"/>
              <a:ext cx="1179440" cy="600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buClr>
                  <a:srgbClr val="D2533C"/>
                </a:buClr>
              </a:pPr>
              <a: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Workforce </a:t>
              </a:r>
              <a:r>
                <a:rPr lang="en-US" altLang="en-US" sz="1300" b="1" dirty="0" smtClean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strategy</a:t>
              </a:r>
              <a:endParaRPr lang="en-US" altLang="en-US" sz="1300" b="1" baseline="30000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endParaRPr>
            </a:p>
            <a:p>
              <a:pPr algn="ctr">
                <a:buClr>
                  <a:srgbClr val="D2533C"/>
                </a:buClr>
              </a:pPr>
              <a:endParaRPr lang="en-US" altLang="en-US" sz="1300" i="1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465138" y="2476500"/>
            <a:ext cx="8018462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cxnSpLocks/>
          </p:cNvCxnSpPr>
          <p:nvPr/>
        </p:nvCxnSpPr>
        <p:spPr>
          <a:xfrm flipV="1">
            <a:off x="728663" y="2519363"/>
            <a:ext cx="0" cy="1277937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/>
          <p:cNvCxnSpPr>
            <a:cxnSpLocks/>
          </p:cNvCxnSpPr>
          <p:nvPr/>
        </p:nvCxnSpPr>
        <p:spPr>
          <a:xfrm flipV="1">
            <a:off x="4140200" y="2519363"/>
            <a:ext cx="0" cy="1277937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/>
          <p:cNvCxnSpPr>
            <a:cxnSpLocks/>
          </p:cNvCxnSpPr>
          <p:nvPr/>
        </p:nvCxnSpPr>
        <p:spPr>
          <a:xfrm flipV="1">
            <a:off x="4821238" y="2519363"/>
            <a:ext cx="0" cy="1277937"/>
          </a:xfrm>
          <a:prstGeom prst="straightConnector1">
            <a:avLst/>
          </a:prstGeom>
          <a:ln w="25400">
            <a:solidFill>
              <a:schemeClr val="accent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7831" name="Group 13"/>
          <p:cNvGrpSpPr>
            <a:grpSpLocks/>
          </p:cNvGrpSpPr>
          <p:nvPr/>
        </p:nvGrpSpPr>
        <p:grpSpPr bwMode="auto">
          <a:xfrm>
            <a:off x="3835400" y="2681288"/>
            <a:ext cx="1273175" cy="1000125"/>
            <a:chOff x="1807802" y="2057401"/>
            <a:chExt cx="1273128" cy="1000016"/>
          </a:xfrm>
        </p:grpSpPr>
        <p:sp>
          <p:nvSpPr>
            <p:cNvPr id="64" name="AutoShape 4"/>
            <p:cNvSpPr>
              <a:spLocks noChangeArrowheads="1"/>
            </p:cNvSpPr>
            <p:nvPr/>
          </p:nvSpPr>
          <p:spPr bwMode="auto">
            <a:xfrm>
              <a:off x="1807802" y="2057401"/>
              <a:ext cx="1246142" cy="1000016"/>
            </a:xfrm>
            <a:prstGeom prst="hexagon">
              <a:avLst>
                <a:gd name="adj" fmla="val 30923"/>
                <a:gd name="vf" fmla="val 115470"/>
              </a:avLst>
            </a:prstGeom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2">
                    <a:lumMod val="60000"/>
                    <a:lumOff val="40000"/>
                  </a:schemeClr>
                </a:gs>
              </a:gsLst>
              <a:lin ang="16200000" scaled="1"/>
              <a:tileRect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tIns="91440" bIns="91440" anchor="ctr"/>
            <a:lstStyle/>
            <a:p>
              <a:pPr defTabSz="895350">
                <a:buClr>
                  <a:srgbClr val="D2533C"/>
                </a:buClr>
                <a:defRPr/>
              </a:pPr>
              <a:endParaRPr lang="en-US" sz="1300" b="1" dirty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17840" name="Rectangle 31"/>
            <p:cNvSpPr txBox="1">
              <a:spLocks noChangeArrowheads="1"/>
            </p:cNvSpPr>
            <p:nvPr/>
          </p:nvSpPr>
          <p:spPr bwMode="auto">
            <a:xfrm>
              <a:off x="1841256" y="2357353"/>
              <a:ext cx="123967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buClr>
                  <a:srgbClr val="D2533C"/>
                </a:buClr>
              </a:pPr>
              <a:r>
                <a:rPr lang="en-US" altLang="en-US" sz="1300" b="1" dirty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Common Scorecard</a:t>
              </a:r>
            </a:p>
          </p:txBody>
        </p:sp>
      </p:grpSp>
      <p:sp>
        <p:nvSpPr>
          <p:cNvPr id="139" name="AutoShape 4"/>
          <p:cNvSpPr>
            <a:spLocks noChangeArrowheads="1"/>
          </p:cNvSpPr>
          <p:nvPr/>
        </p:nvSpPr>
        <p:spPr bwMode="auto">
          <a:xfrm>
            <a:off x="4568825" y="1690688"/>
            <a:ext cx="990600" cy="650875"/>
          </a:xfrm>
          <a:custGeom>
            <a:avLst/>
            <a:gdLst>
              <a:gd name="connsiteX0" fmla="*/ 0 w 2531870"/>
              <a:gd name="connsiteY0" fmla="*/ 323517 h 647034"/>
              <a:gd name="connsiteX1" fmla="*/ 200082 w 2531870"/>
              <a:gd name="connsiteY1" fmla="*/ 0 h 647034"/>
              <a:gd name="connsiteX2" fmla="*/ 2331788 w 2531870"/>
              <a:gd name="connsiteY2" fmla="*/ 0 h 647034"/>
              <a:gd name="connsiteX3" fmla="*/ 2531870 w 2531870"/>
              <a:gd name="connsiteY3" fmla="*/ 323517 h 647034"/>
              <a:gd name="connsiteX4" fmla="*/ 2331788 w 2531870"/>
              <a:gd name="connsiteY4" fmla="*/ 647034 h 647034"/>
              <a:gd name="connsiteX5" fmla="*/ 200082 w 2531870"/>
              <a:gd name="connsiteY5" fmla="*/ 647034 h 647034"/>
              <a:gd name="connsiteX6" fmla="*/ 0 w 2531870"/>
              <a:gd name="connsiteY6" fmla="*/ 323517 h 647034"/>
              <a:gd name="connsiteX0" fmla="*/ 0 w 2531870"/>
              <a:gd name="connsiteY0" fmla="*/ 323517 h 647034"/>
              <a:gd name="connsiteX1" fmla="*/ 200082 w 2531870"/>
              <a:gd name="connsiteY1" fmla="*/ 0 h 647034"/>
              <a:gd name="connsiteX2" fmla="*/ 990198 w 2531870"/>
              <a:gd name="connsiteY2" fmla="*/ 0 h 647034"/>
              <a:gd name="connsiteX3" fmla="*/ 2531870 w 2531870"/>
              <a:gd name="connsiteY3" fmla="*/ 323517 h 647034"/>
              <a:gd name="connsiteX4" fmla="*/ 2331788 w 2531870"/>
              <a:gd name="connsiteY4" fmla="*/ 647034 h 647034"/>
              <a:gd name="connsiteX5" fmla="*/ 200082 w 2531870"/>
              <a:gd name="connsiteY5" fmla="*/ 647034 h 647034"/>
              <a:gd name="connsiteX6" fmla="*/ 0 w 2531870"/>
              <a:gd name="connsiteY6" fmla="*/ 323517 h 647034"/>
              <a:gd name="connsiteX0" fmla="*/ 0 w 2331788"/>
              <a:gd name="connsiteY0" fmla="*/ 323517 h 647034"/>
              <a:gd name="connsiteX1" fmla="*/ 200082 w 2331788"/>
              <a:gd name="connsiteY1" fmla="*/ 0 h 647034"/>
              <a:gd name="connsiteX2" fmla="*/ 990198 w 2331788"/>
              <a:gd name="connsiteY2" fmla="*/ 0 h 647034"/>
              <a:gd name="connsiteX3" fmla="*/ 2331788 w 2331788"/>
              <a:gd name="connsiteY3" fmla="*/ 647034 h 647034"/>
              <a:gd name="connsiteX4" fmla="*/ 200082 w 2331788"/>
              <a:gd name="connsiteY4" fmla="*/ 647034 h 647034"/>
              <a:gd name="connsiteX5" fmla="*/ 0 w 2331788"/>
              <a:gd name="connsiteY5" fmla="*/ 323517 h 647034"/>
              <a:gd name="connsiteX0" fmla="*/ 0 w 990198"/>
              <a:gd name="connsiteY0" fmla="*/ 323517 h 650565"/>
              <a:gd name="connsiteX1" fmla="*/ 200082 w 990198"/>
              <a:gd name="connsiteY1" fmla="*/ 0 h 650565"/>
              <a:gd name="connsiteX2" fmla="*/ 990198 w 990198"/>
              <a:gd name="connsiteY2" fmla="*/ 0 h 650565"/>
              <a:gd name="connsiteX3" fmla="*/ 788959 w 990198"/>
              <a:gd name="connsiteY3" fmla="*/ 650565 h 650565"/>
              <a:gd name="connsiteX4" fmla="*/ 200082 w 990198"/>
              <a:gd name="connsiteY4" fmla="*/ 647034 h 650565"/>
              <a:gd name="connsiteX5" fmla="*/ 0 w 990198"/>
              <a:gd name="connsiteY5" fmla="*/ 323517 h 6505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0198" h="650565">
                <a:moveTo>
                  <a:pt x="0" y="323517"/>
                </a:moveTo>
                <a:lnTo>
                  <a:pt x="200082" y="0"/>
                </a:lnTo>
                <a:lnTo>
                  <a:pt x="990198" y="0"/>
                </a:lnTo>
                <a:lnTo>
                  <a:pt x="788959" y="650565"/>
                </a:lnTo>
                <a:lnTo>
                  <a:pt x="200082" y="647034"/>
                </a:lnTo>
                <a:lnTo>
                  <a:pt x="0" y="323517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lumMod val="75000"/>
                </a:schemeClr>
              </a:gs>
              <a:gs pos="100000">
                <a:schemeClr val="accent2">
                  <a:lumMod val="60000"/>
                  <a:lumOff val="40000"/>
                </a:schemeClr>
              </a:gs>
            </a:gsLst>
            <a:lin ang="16200000" scaled="1"/>
            <a:tileRect/>
          </a:gradFill>
          <a:ln w="9525">
            <a:solidFill>
              <a:schemeClr val="accent2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91440" bIns="91440" anchor="ctr"/>
          <a:lstStyle/>
          <a:p>
            <a:pPr defTabSz="895350">
              <a:buClr>
                <a:srgbClr val="D2533C"/>
              </a:buClr>
              <a:defRPr/>
            </a:pPr>
            <a:endParaRPr lang="en-US" sz="1300" b="1" dirty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17833" name="Rectangle 31"/>
          <p:cNvSpPr txBox="1">
            <a:spLocks noChangeArrowheads="1"/>
          </p:cNvSpPr>
          <p:nvPr/>
        </p:nvSpPr>
        <p:spPr bwMode="auto">
          <a:xfrm>
            <a:off x="4637088" y="1915304"/>
            <a:ext cx="2395537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>
              <a:buClr>
                <a:srgbClr val="D2533C"/>
              </a:buClr>
            </a:pPr>
            <a:r>
              <a:rPr lang="en-US" altLang="en-US" sz="1300" b="1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rPr>
              <a:t>Advanced Primary </a:t>
            </a:r>
            <a:r>
              <a:rPr lang="en-US" altLang="en-US" sz="1300" b="1" dirty="0" smtClean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rPr>
              <a:t>Care</a:t>
            </a:r>
            <a:endParaRPr lang="en-US" altLang="en-US" sz="1300" b="1" dirty="0">
              <a:solidFill>
                <a:srgbClr val="292934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1" name="Legend2"/>
          <p:cNvSpPr>
            <a:spLocks noChangeArrowheads="1"/>
          </p:cNvSpPr>
          <p:nvPr/>
        </p:nvSpPr>
        <p:spPr bwMode="auto">
          <a:xfrm>
            <a:off x="728663" y="5997574"/>
            <a:ext cx="1303337" cy="1857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895350">
              <a:buClr>
                <a:srgbClr val="D2533C"/>
              </a:buClr>
              <a:defRPr/>
            </a:pPr>
            <a:r>
              <a:rPr lang="en-US" sz="1200" dirty="0">
                <a:solidFill>
                  <a:srgbClr val="292934"/>
                </a:solidFill>
                <a:latin typeface="Arial"/>
              </a:rPr>
              <a:t>Multi-payer funding</a:t>
            </a:r>
          </a:p>
        </p:txBody>
      </p:sp>
      <p:sp>
        <p:nvSpPr>
          <p:cNvPr id="142" name="AutoShape 4"/>
          <p:cNvSpPr>
            <a:spLocks noChangeArrowheads="1"/>
          </p:cNvSpPr>
          <p:nvPr/>
        </p:nvSpPr>
        <p:spPr bwMode="auto">
          <a:xfrm>
            <a:off x="361950" y="5997574"/>
            <a:ext cx="230188" cy="185738"/>
          </a:xfrm>
          <a:prstGeom prst="hexagon">
            <a:avLst>
              <a:gd name="adj" fmla="val 30923"/>
              <a:gd name="vf" fmla="val 115470"/>
            </a:avLst>
          </a:prstGeom>
          <a:noFill/>
          <a:ln w="9525">
            <a:solidFill>
              <a:schemeClr val="accent4">
                <a:lumMod val="50000"/>
                <a:lumOff val="50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tIns="91440" bIns="91440" anchor="ctr"/>
          <a:lstStyle/>
          <a:p>
            <a:pPr defTabSz="895350">
              <a:buClr>
                <a:srgbClr val="D2533C"/>
              </a:buClr>
              <a:defRPr/>
            </a:pPr>
            <a:endParaRPr lang="en-US" sz="1300" b="1" dirty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417836" name="Group 9"/>
          <p:cNvGrpSpPr>
            <a:grpSpLocks/>
          </p:cNvGrpSpPr>
          <p:nvPr/>
        </p:nvGrpSpPr>
        <p:grpSpPr bwMode="auto">
          <a:xfrm>
            <a:off x="450850" y="3673475"/>
            <a:ext cx="1246188" cy="998538"/>
            <a:chOff x="7100417" y="4038882"/>
            <a:chExt cx="1246348" cy="1000016"/>
          </a:xfrm>
        </p:grpSpPr>
        <p:sp>
          <p:nvSpPr>
            <p:cNvPr id="61" name="AutoShape 4"/>
            <p:cNvSpPr>
              <a:spLocks noChangeArrowheads="1"/>
            </p:cNvSpPr>
            <p:nvPr/>
          </p:nvSpPr>
          <p:spPr bwMode="auto">
            <a:xfrm>
              <a:off x="7100417" y="4038882"/>
              <a:ext cx="1246348" cy="1000016"/>
            </a:xfrm>
            <a:prstGeom prst="hexagon">
              <a:avLst>
                <a:gd name="adj" fmla="val 30923"/>
                <a:gd name="vf" fmla="val 115470"/>
              </a:avLst>
            </a:prstGeom>
            <a:gradFill flip="none" rotWithShape="1">
              <a:gsLst>
                <a:gs pos="0">
                  <a:schemeClr val="accent1">
                    <a:lumMod val="60000"/>
                    <a:lumOff val="4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16200000" scaled="1"/>
              <a:tileRect/>
            </a:gradFill>
            <a:ln w="9525">
              <a:solidFill>
                <a:schemeClr val="accent2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tIns="91440" bIns="91440" anchor="ctr"/>
            <a:lstStyle/>
            <a:p>
              <a:pPr defTabSz="895350">
                <a:buClr>
                  <a:srgbClr val="D2533C"/>
                </a:buClr>
                <a:defRPr/>
              </a:pPr>
              <a:endParaRPr lang="en-US" sz="1300" b="1" dirty="0">
                <a:solidFill>
                  <a:srgbClr val="FFFFFF"/>
                </a:solidFill>
                <a:latin typeface="Arial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417838" name="Rectangle 31"/>
            <p:cNvSpPr txBox="1">
              <a:spLocks noChangeArrowheads="1"/>
            </p:cNvSpPr>
            <p:nvPr/>
          </p:nvSpPr>
          <p:spPr bwMode="auto">
            <a:xfrm>
              <a:off x="7133871" y="4438714"/>
              <a:ext cx="1179440" cy="200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ctr">
                <a:buClr>
                  <a:srgbClr val="D2533C"/>
                </a:buClr>
              </a:pPr>
              <a:r>
                <a:rPr lang="en-US" altLang="en-US" sz="1300" b="1" dirty="0" smtClean="0">
                  <a:solidFill>
                    <a:srgbClr val="292934"/>
                  </a:solidFill>
                  <a:ea typeface="Arial Unicode MS" pitchFamily="34" charset="-128"/>
                  <a:cs typeface="Arial Unicode MS" pitchFamily="34" charset="-128"/>
                </a:rPr>
                <a:t>SHIN-NY</a:t>
              </a:r>
              <a:endParaRPr lang="en-US" altLang="en-US" sz="1300" b="1" dirty="0">
                <a:solidFill>
                  <a:srgbClr val="292934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953944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2008"/>
  <p:tag name="POWERPOINTVERSION" val="14.0"/>
  <p:tag name="PPVERSION" val="14.0"/>
  <p:tag name="DELIMITERS" val="3.1"/>
  <p:tag name="SHOWBARVISIBLE" val="True"/>
  <p:tag name="EXPANDSHOWBAR" val="True"/>
  <p:tag name="USESECONDARYMONITOR" val="True"/>
  <p:tag name="SAVECSVWITHSESSION" val="True"/>
  <p:tag name="CSVFORMAT" val="0"/>
  <p:tag name="BULLETTYPE" val="1"/>
  <p:tag name="ANSWERNOWSTYLE" val="-1"/>
  <p:tag name="ANSWERNOWTEXT" val="Answer Now"/>
  <p:tag name="COUNTDOWNSTYLE" val="-1"/>
  <p:tag name="RESPCOUNTERSTYLE" val="-1"/>
  <p:tag name="RESPCOUNTERFORMAT" val="0"/>
  <p:tag name="RESPTABLESTYLE" val="-1"/>
  <p:tag name="COUNTDOWNSECONDS" val="10"/>
  <p:tag name="INPUTSOURCE" val="1"/>
  <p:tag name="NUMRESPONSES" val="1"/>
  <p:tag name="ALLOWDUPLICATES" val="False"/>
  <p:tag name="BACKUPSESSIONS" val="True"/>
  <p:tag name="BACKUPMAINTENANCE" val="7"/>
  <p:tag name="CHARTVALUEFORMAT" val="0"/>
  <p:tag name="AUTOADVANCE" val="False"/>
  <p:tag name="REVIEWONLY" val="True"/>
  <p:tag name="ROTATIONINTERVAL" val="2"/>
  <p:tag name="AUTOUPDATEALIASES" val="True"/>
  <p:tag name="STDCHART" val="1"/>
  <p:tag name="RACEENDPOINTS" val="100"/>
  <p:tag name="RACERSMAXDISPLAYED" val="5"/>
  <p:tag name="RACEANIMATIONSPEED" val="3"/>
  <p:tag name="SKIPREMAININGRACESLIDES" val="True"/>
  <p:tag name="PARTICIPANTSINLEADERBOARD" val="5"/>
  <p:tag name="TEAMSINLEADERBOARD" val="5"/>
  <p:tag name="MAXRESPONDERS" val="5"/>
  <p:tag name="BUBBLENAMEVISIBLE" val="True"/>
  <p:tag name="BUBBLESIZEVISIBLE" val="True"/>
  <p:tag name="BUBBLEVALUEFORMAT" val="0.0"/>
  <p:tag name="BUBBLEGROUPING" val="3"/>
  <p:tag name="DEFAULTNUMTEAMS" val="5"/>
  <p:tag name="CUSTOMGRIDBACKCOLOR" val="-2830136"/>
  <p:tag name="CUSTOMCELLFORECOLOR" val="-16777216"/>
  <p:tag name="CUSTOMCELLBACKCOLOR1" val="-657956"/>
  <p:tag name="CUSTOMCELLBACKCOLOR2" val="-13395457"/>
  <p:tag name="CUSTOMCELLBACKCOLOR3" val="-268652"/>
  <p:tag name="CUSTOMCELLBACKCOLOR4" val="-8355712"/>
  <p:tag name="USESCHEMECOLORS" val="True"/>
  <p:tag name="DISPLAYNAME" val="True"/>
  <p:tag name="DISPLAYDEVICENUMBER" val="True"/>
  <p:tag name="DISPLAYDEVICEID" val="True"/>
  <p:tag name="GRIDOPACITY" val="90"/>
  <p:tag name="GRIDROTATIONINTERVAL" val="2"/>
  <p:tag name="AUTOSIZEGRID" val="True"/>
  <p:tag name="GRIDSIZE" val="{Width=800, Height=600}"/>
  <p:tag name="GRIDPOSITION" val="1"/>
  <p:tag name="GRIDFONTSIZE" val="12"/>
  <p:tag name="POLLINGCYCLE" val="2"/>
  <p:tag name="CHARTCOLORS" val="1"/>
  <p:tag name="CHARTLABELS" val="1"/>
  <p:tag name="RESETCHARTS" val="True"/>
  <p:tag name="INCLUDENONRESPONDERS" val="False"/>
  <p:tag name="MULTIRESPDIVISOR" val="1"/>
  <p:tag name="INCLUDEPPT" val="True"/>
  <p:tag name="ALLOWUSERFEEDBACK" val="True"/>
  <p:tag name="CORRECTPOINTVALUE" val="100"/>
  <p:tag name="INCORRECTPOINTVALUE" val="0"/>
  <p:tag name="REALTIMEBACKUP" val="False"/>
  <p:tag name="REALTIMEBACKUPPATH" val="(None)"/>
  <p:tag name="ZEROBASED" val="False"/>
  <p:tag name="AUTOADJUSTPARTRANGE" val="True"/>
  <p:tag name="CHARTSCALE" val="True"/>
  <p:tag name="ADVANCEDSETTINGSVIEW" val="False"/>
  <p:tag name="FIBDISPLAYRESULTS" val="True"/>
  <p:tag name="FIBNUMRESULTS" val="5"/>
  <p:tag name="FIBINCLUDEOTHER" val="True"/>
  <p:tag name="FIBDISPLAYKEYWORDS" val="True"/>
  <p:tag name="PRRESPONSE1" val="1"/>
  <p:tag name="PRRESPONSE2" val="1"/>
  <p:tag name="PRRESPONSE3" val="1"/>
  <p:tag name="PRRESPONSE4" val="7"/>
  <p:tag name="PRRESPONSE5" val="6"/>
  <p:tag name="PRRESPONSE6" val="5"/>
  <p:tag name="PRRESPONSE7" val="4"/>
  <p:tag name="PRRESPONSE8" val="3"/>
  <p:tag name="PRRESPONSE9" val="2"/>
  <p:tag name="PRRESPONSE10" val="1"/>
  <p:tag name="SHOWFLASHWARNING" val="True"/>
  <p:tag name="ALWAYSOPENPOLL" val="False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3.79107383588185030000E+000&quot;&gt;&lt;m_ppcolschidx val=&quot;0&quot;/&gt;&lt;m_rgb r=&quot;d1&quot; g=&quot;d1&quot; b=&quot;d1&quot;/&gt;&lt;/elem&gt;&lt;elem m_fUsage=&quot;2.54916363519000020000E+000&quot;&gt;&lt;m_ppcolschidx val=&quot;0&quot;/&gt;&lt;m_rgb r=&quot;f2&quot; g=&quot;f2&quot; b=&quot;f2&quot;/&gt;&lt;/elem&gt;&lt;elem m_fUsage=&quot;1.29682504386351010000E+000&quot;&gt;&lt;m_ppcolschidx val=&quot;0&quot;/&gt;&lt;m_rgb r=&quot;df&quot; g=&quot;df&quot; b=&quot;df&quot;/&gt;&lt;/elem&gt;&lt;elem m_fUsage=&quot;8.61991132094649280000E-001&quot;&gt;&lt;m_ppcolschidx val=&quot;0&quot;/&gt;&lt;m_rgb r=&quot;bf&quot; g=&quot;bf&quot; b=&quot;bf&quot;/&gt;&lt;/elem&gt;&lt;/m_vecMRU&gt;&lt;/m_mruColor&gt;&lt;m_mapectfillschemeMRU&gt;&lt;key val=&quot;0&quot;/&gt;&lt;elem&gt;&lt;m_nPartnerID val=&quot;536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ASKPANEKEY" val="0003e6de-cffa-4db8-ab5a-691e9a579ebe"/>
  <p:tag name="TPFULLVERSION" val="4.5.1.224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elgerson_CF_DG0654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5DFB2"/>
        </a:accent1>
        <a:accent2>
          <a:srgbClr val="8BBF66"/>
        </a:accent2>
        <a:accent3>
          <a:srgbClr val="3E9500"/>
        </a:accent3>
        <a:accent4>
          <a:srgbClr val="323232"/>
        </a:accent4>
        <a:accent5>
          <a:srgbClr val="B4B4B4"/>
        </a:accent5>
        <a:accent6>
          <a:srgbClr val="808080"/>
        </a:accent6>
        <a:hlink>
          <a:srgbClr val="3E9500"/>
        </a:hlink>
        <a:folHlink>
          <a:srgbClr val="32323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elgerson_CF_DG0654</Template>
  <TotalTime>95614</TotalTime>
  <Words>916</Words>
  <Application>Microsoft Office PowerPoint</Application>
  <PresentationFormat>Custom</PresentationFormat>
  <Paragraphs>135</Paragraphs>
  <Slides>1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2" baseType="lpstr">
      <vt:lpstr>Arial Unicode MS</vt:lpstr>
      <vt:lpstr>ＭＳ Ｐゴシック</vt:lpstr>
      <vt:lpstr>SimSun</vt:lpstr>
      <vt:lpstr>Arial</vt:lpstr>
      <vt:lpstr>Calibri</vt:lpstr>
      <vt:lpstr>Times New Roman</vt:lpstr>
      <vt:lpstr>Wingdings</vt:lpstr>
      <vt:lpstr>Helgerson_CF_DG0654</vt:lpstr>
      <vt:lpstr>think-cell Slide</vt:lpstr>
      <vt:lpstr>NYS Health Innovation Plan and SIM Testing Grant      Ad Hoc Committee to Lead the   Prevention Agenda   January 29, 2015 </vt:lpstr>
      <vt:lpstr>What is the SHIP?</vt:lpstr>
      <vt:lpstr>PowerPoint Presentation</vt:lpstr>
      <vt:lpstr>SHIP Objectives and Goals</vt:lpstr>
      <vt:lpstr>What is SIM?</vt:lpstr>
      <vt:lpstr>PowerPoint Presentation</vt:lpstr>
      <vt:lpstr>SHIP Advanced Primary Care (APC) Model</vt:lpstr>
      <vt:lpstr>Multiple Initiatives – Multiple Perspectives</vt:lpstr>
      <vt:lpstr>The SIM Grant  Will Spur Innovation and Catalyze Change</vt:lpstr>
      <vt:lpstr>PowerPoint Presentation</vt:lpstr>
      <vt:lpstr>PowerPoint Presentation</vt:lpstr>
      <vt:lpstr>SHIP/SIM the Prevention Agenda and PHIP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SC</dc:creator>
  <cp:lastModifiedBy>Colleen M. Leonard</cp:lastModifiedBy>
  <cp:revision>3037</cp:revision>
  <cp:lastPrinted>2015-01-27T18:53:23Z</cp:lastPrinted>
  <dcterms:created xsi:type="dcterms:W3CDTF">2013-09-29T10:19:26Z</dcterms:created>
  <dcterms:modified xsi:type="dcterms:W3CDTF">2015-02-04T21:2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VGCompatibilityCheck Run By">
    <vt:lpwstr>Sandeep S</vt:lpwstr>
  </property>
  <property fmtid="{D5CDD505-2E9C-101B-9397-08002B2CF9AE}" pid="11" name="VGCompatibilityCheck Run On ">
    <vt:lpwstr>2/11/2014 2:23:35 PM</vt:lpwstr>
  </property>
  <property fmtid="{D5CDD505-2E9C-101B-9397-08002B2CF9AE}" pid="12" name="Office2010WasSaved">
    <vt:lpwstr>1</vt:lpwstr>
  </property>
</Properties>
</file>